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7.xml" ContentType="application/vnd.openxmlformats-officedocument.presentationml.tags+xml"/>
  <Override PartName="/ppt/notesSlides/notesSlide7.xml" ContentType="application/vnd.openxmlformats-officedocument.presentationml.notesSlide+xml"/>
  <Override PartName="/ppt/tags/tag8.xml" ContentType="application/vnd.openxmlformats-officedocument.presentationml.tags+xml"/>
  <Override PartName="/ppt/notesSlides/notesSlide8.xml" ContentType="application/vnd.openxmlformats-officedocument.presentationml.notesSlide+xml"/>
  <Override PartName="/ppt/tags/tag9.xml" ContentType="application/vnd.openxmlformats-officedocument.presentationml.tags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292" r:id="rId1"/>
  </p:sldMasterIdLst>
  <p:notesMasterIdLst>
    <p:notesMasterId r:id="rId16"/>
  </p:notesMasterIdLst>
  <p:sldIdLst>
    <p:sldId id="579" r:id="rId2"/>
    <p:sldId id="593" r:id="rId3"/>
    <p:sldId id="594" r:id="rId4"/>
    <p:sldId id="595" r:id="rId5"/>
    <p:sldId id="572" r:id="rId6"/>
    <p:sldId id="568" r:id="rId7"/>
    <p:sldId id="570" r:id="rId8"/>
    <p:sldId id="596" r:id="rId9"/>
    <p:sldId id="602" r:id="rId10"/>
    <p:sldId id="603" r:id="rId11"/>
    <p:sldId id="605" r:id="rId12"/>
    <p:sldId id="598" r:id="rId13"/>
    <p:sldId id="575" r:id="rId14"/>
    <p:sldId id="604" r:id="rId15"/>
  </p:sldIdLst>
  <p:sldSz cx="12192000" cy="6858000"/>
  <p:notesSz cx="6797675" cy="9926638"/>
  <p:custDataLst>
    <p:tags r:id="rId17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34C2EB17-D588-41C0-8F00-4B6916FC57BE}">
          <p14:sldIdLst>
            <p14:sldId id="579"/>
            <p14:sldId id="593"/>
            <p14:sldId id="594"/>
            <p14:sldId id="595"/>
            <p14:sldId id="572"/>
            <p14:sldId id="568"/>
            <p14:sldId id="570"/>
            <p14:sldId id="596"/>
            <p14:sldId id="602"/>
            <p14:sldId id="603"/>
            <p14:sldId id="605"/>
            <p14:sldId id="598"/>
            <p14:sldId id="575"/>
            <p14:sldId id="604"/>
          </p14:sldIdLst>
        </p14:section>
      </p14:sectionLst>
    </p:ext>
    <p:ext uri="{EFAFB233-063F-42B5-8137-9DF3F51BA10A}">
      <p15:sldGuideLst xmlns:p15="http://schemas.microsoft.com/office/powerpoint/2012/main">
        <p15:guide id="2" pos="302" userDrawn="1">
          <p15:clr>
            <a:srgbClr val="A4A3A4"/>
          </p15:clr>
        </p15:guide>
        <p15:guide id="3" pos="7333" userDrawn="1">
          <p15:clr>
            <a:srgbClr val="A4A3A4"/>
          </p15:clr>
        </p15:guide>
        <p15:guide id="4" orient="horz" pos="300" userDrawn="1">
          <p15:clr>
            <a:srgbClr val="A4A3A4"/>
          </p15:clr>
        </p15:guide>
        <p15:guide id="6" orient="horz" pos="4020" userDrawn="1">
          <p15:clr>
            <a:srgbClr val="A4A3A4"/>
          </p15:clr>
        </p15:guide>
        <p15:guide id="7" pos="3840" userDrawn="1">
          <p15:clr>
            <a:srgbClr val="A4A3A4"/>
          </p15:clr>
        </p15:guide>
        <p15:guide id="8" pos="2003" userDrawn="1">
          <p15:clr>
            <a:srgbClr val="A4A3A4"/>
          </p15:clr>
        </p15:guide>
        <p15:guide id="9" pos="5677" userDrawn="1">
          <p15:clr>
            <a:srgbClr val="A4A3A4"/>
          </p15:clr>
        </p15:guide>
        <p15:guide id="12" pos="6840" userDrawn="1">
          <p15:clr>
            <a:srgbClr val="A4A3A4"/>
          </p15:clr>
        </p15:guide>
        <p15:guide id="21" orient="horz" pos="1058" userDrawn="1">
          <p15:clr>
            <a:srgbClr val="A4A3A4"/>
          </p15:clr>
        </p15:guide>
        <p15:guide id="22" orient="horz" pos="482" userDrawn="1">
          <p15:clr>
            <a:srgbClr val="A4A3A4"/>
          </p15:clr>
        </p15:guide>
        <p15:guide id="23" pos="529" userDrawn="1">
          <p15:clr>
            <a:srgbClr val="A4A3A4"/>
          </p15:clr>
        </p15:guide>
        <p15:guide id="24" pos="4271" userDrawn="1">
          <p15:clr>
            <a:srgbClr val="A4A3A4"/>
          </p15:clr>
        </p15:guide>
        <p15:guide id="26" pos="1455" userDrawn="1">
          <p15:clr>
            <a:srgbClr val="A4A3A4"/>
          </p15:clr>
        </p15:guide>
        <p15:guide id="27" pos="5337" userDrawn="1">
          <p15:clr>
            <a:srgbClr val="A4A3A4"/>
          </p15:clr>
        </p15:guide>
        <p15:guide id="28" orient="horz" pos="1548" userDrawn="1">
          <p15:clr>
            <a:srgbClr val="A4A3A4"/>
          </p15:clr>
        </p15:guide>
        <p15:guide id="29" pos="2962" userDrawn="1">
          <p15:clr>
            <a:srgbClr val="A4A3A4"/>
          </p15:clr>
        </p15:guide>
        <p15:guide id="30" orient="horz" pos="1842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Андреева Татьяна Александровна" initials="АТА" lastIdx="4" clrIdx="0">
    <p:extLst>
      <p:ext uri="{19B8F6BF-5375-455C-9EA6-DF929625EA0E}">
        <p15:presenceInfo xmlns:p15="http://schemas.microsoft.com/office/powerpoint/2012/main" userId="S-1-5-21-2509222527-3473664192-1900209780-716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66FF2"/>
    <a:srgbClr val="8670F2"/>
    <a:srgbClr val="9165E8"/>
    <a:srgbClr val="4FCEFF"/>
    <a:srgbClr val="84E0F7"/>
    <a:srgbClr val="7F7F7F"/>
    <a:srgbClr val="FFD633"/>
    <a:srgbClr val="61D1E1"/>
    <a:srgbClr val="191919"/>
    <a:srgbClr val="FFCF4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115" autoAdjust="0"/>
    <p:restoredTop sz="96395" autoAdjust="0"/>
  </p:normalViewPr>
  <p:slideViewPr>
    <p:cSldViewPr snapToGrid="0">
      <p:cViewPr varScale="1">
        <p:scale>
          <a:sx n="111" d="100"/>
          <a:sy n="111" d="100"/>
        </p:scale>
        <p:origin x="300" y="102"/>
      </p:cViewPr>
      <p:guideLst>
        <p:guide pos="302"/>
        <p:guide pos="7333"/>
        <p:guide orient="horz" pos="300"/>
        <p:guide orient="horz" pos="4020"/>
        <p:guide pos="3840"/>
        <p:guide pos="2003"/>
        <p:guide pos="5677"/>
        <p:guide pos="6840"/>
        <p:guide orient="horz" pos="1058"/>
        <p:guide orient="horz" pos="482"/>
        <p:guide pos="529"/>
        <p:guide pos="4271"/>
        <p:guide pos="1455"/>
        <p:guide pos="5337"/>
        <p:guide orient="horz" pos="1548"/>
        <p:guide pos="2962"/>
        <p:guide orient="horz" pos="1842"/>
      </p:guideLst>
    </p:cSldViewPr>
  </p:slideViewPr>
  <p:outlineViewPr>
    <p:cViewPr>
      <p:scale>
        <a:sx n="20" d="100"/>
        <a:sy n="20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A3F9436-A9B8-4B98-BD44-CDF915E50313}" type="datetimeFigureOut">
              <a:rPr lang="ru-RU" smtClean="0"/>
              <a:t>19.06.2024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0DEDC38-8EB6-419F-924F-2F29B00D9580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15684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D8F54A-9430-4949-B95F-C543C1DE53FA}" type="slidenum">
              <a:rPr lang="ru-RU" smtClean="0"/>
              <a:t>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495483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D8F54A-9430-4949-B95F-C543C1DE53FA}" type="slidenum">
              <a:rPr lang="ru-RU" smtClean="0"/>
              <a:t>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027367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D8F54A-9430-4949-B95F-C543C1DE53FA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999136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DEDC38-8EB6-419F-924F-2F29B00D9580}" type="slidenum">
              <a:rPr lang="ru-RU" smtClean="0"/>
              <a:t>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2602961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D8F54A-9430-4949-B95F-C543C1DE53FA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4369618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2FE1F0-838E-41AA-9724-5CC6AB69BAB1}" type="slidenum">
              <a:rPr lang="ru-RU" smtClean="0"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8192502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ED8F54A-9430-4949-B95F-C543C1DE53FA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9661845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ED8F54A-9430-4949-B95F-C543C1DE53FA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113588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D8F54A-9430-4949-B95F-C543C1DE53FA}" type="slidenum">
              <a:rPr lang="ru-RU" smtClean="0"/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765218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>
            <a:lvl1pPr>
              <a:defRPr>
                <a:latin typeface="PT Root UI" panose="020B0303020202020204" pitchFamily="34" charset="-52"/>
                <a:ea typeface="PT Root UI" panose="020B0303020202020204" pitchFamily="34" charset="-52"/>
              </a:defRPr>
            </a:lvl1pPr>
            <a:lvl2pPr>
              <a:defRPr>
                <a:latin typeface="PT Root UI" panose="020B0303020202020204" pitchFamily="34" charset="-52"/>
                <a:ea typeface="PT Root UI" panose="020B0303020202020204" pitchFamily="34" charset="-52"/>
              </a:defRPr>
            </a:lvl2pPr>
            <a:lvl3pPr>
              <a:defRPr>
                <a:latin typeface="PT Root UI" panose="020B0303020202020204" pitchFamily="34" charset="-52"/>
                <a:ea typeface="PT Root UI" panose="020B0303020202020204" pitchFamily="34" charset="-52"/>
              </a:defRPr>
            </a:lvl3pPr>
            <a:lvl4pPr>
              <a:defRPr>
                <a:latin typeface="PT Root UI" panose="020B0303020202020204" pitchFamily="34" charset="-52"/>
                <a:ea typeface="PT Root UI" panose="020B0303020202020204" pitchFamily="34" charset="-52"/>
              </a:defRPr>
            </a:lvl4pPr>
            <a:lvl5pPr>
              <a:defRPr>
                <a:latin typeface="PT Root UI" panose="020B0303020202020204" pitchFamily="34" charset="-52"/>
                <a:ea typeface="PT Root UI" panose="020B0303020202020204" pitchFamily="34" charset="-52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9217351" y="621107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>
                <a:solidFill>
                  <a:schemeClr val="tx1"/>
                </a:solidFill>
                <a:latin typeface="PT Root UI Light" panose="020B0203020202020204" pitchFamily="34" charset="-52"/>
                <a:ea typeface="PT Root UI Light" panose="020B0203020202020204" pitchFamily="34" charset="-52"/>
              </a:defRPr>
            </a:lvl1pPr>
          </a:lstStyle>
          <a:p>
            <a:fld id="{748D0776-2027-49E3-9E69-9347B21BD908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856199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9217351" y="621107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>
                <a:solidFill>
                  <a:schemeClr val="tx1"/>
                </a:solidFill>
                <a:latin typeface="PT Root UI Light" panose="020B0203020202020204" pitchFamily="34" charset="-52"/>
                <a:ea typeface="PT Root UI Light" panose="020B0203020202020204" pitchFamily="34" charset="-52"/>
              </a:defRPr>
            </a:lvl1pPr>
          </a:lstStyle>
          <a:p>
            <a:fld id="{748D0776-2027-49E3-9E69-9347B21BD908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430841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Нумерац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9217351" y="621107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>
                <a:solidFill>
                  <a:schemeClr val="tx1"/>
                </a:solidFill>
                <a:latin typeface="PT Root UI Light" panose="020B0203020202020204" pitchFamily="34" charset="-52"/>
                <a:ea typeface="PT Root UI Light" panose="020B0203020202020204" pitchFamily="34" charset="-52"/>
              </a:defRPr>
            </a:lvl1pPr>
          </a:lstStyle>
          <a:p>
            <a:fld id="{748D0776-2027-49E3-9E69-9347B21BD908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052811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19.06.202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7813628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19.06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444009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498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5385516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87" name="Слайд think-cell" r:id="rId9" imgW="347" imgH="348" progId="TCLayout.ActiveDocument.1">
                  <p:embed/>
                </p:oleObj>
              </mc:Choice>
              <mc:Fallback>
                <p:oleObj name="Слайд think-cell" r:id="rId9" imgW="347" imgH="348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232272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94" r:id="rId1"/>
    <p:sldLayoutId id="2147484299" r:id="rId2"/>
    <p:sldLayoutId id="2147484304" r:id="rId3"/>
    <p:sldLayoutId id="2147484305" r:id="rId4"/>
    <p:sldLayoutId id="2147484306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PT Root UI Bold" panose="020B0603020202020204" pitchFamily="34" charset="-52"/>
          <a:ea typeface="PT Root UI Bold" panose="020B0603020202020204" pitchFamily="34" charset="-52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93.png"/><Relationship Id="rId5" Type="http://schemas.openxmlformats.org/officeDocument/2006/relationships/image" Target="../media/image92.png"/><Relationship Id="rId4" Type="http://schemas.openxmlformats.org/officeDocument/2006/relationships/image" Target="../media/image91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13" Type="http://schemas.openxmlformats.org/officeDocument/2006/relationships/image" Target="../media/image98.jpe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82.png"/><Relationship Id="rId12" Type="http://schemas.openxmlformats.org/officeDocument/2006/relationships/image" Target="../media/image97.png"/><Relationship Id="rId2" Type="http://schemas.openxmlformats.org/officeDocument/2006/relationships/tags" Target="../tags/tag7.xml"/><Relationship Id="rId16" Type="http://schemas.openxmlformats.org/officeDocument/2006/relationships/image" Target="../media/image101.png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11" Type="http://schemas.openxmlformats.org/officeDocument/2006/relationships/image" Target="../media/image96.jpeg"/><Relationship Id="rId5" Type="http://schemas.openxmlformats.org/officeDocument/2006/relationships/oleObject" Target="../embeddings/oleObject6.bin"/><Relationship Id="rId15" Type="http://schemas.openxmlformats.org/officeDocument/2006/relationships/image" Target="../media/image100.jpeg"/><Relationship Id="rId10" Type="http://schemas.openxmlformats.org/officeDocument/2006/relationships/image" Target="../media/image95.jpeg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94.png"/><Relationship Id="rId14" Type="http://schemas.openxmlformats.org/officeDocument/2006/relationships/image" Target="../media/image99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83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82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2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02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2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11" Type="http://schemas.openxmlformats.org/officeDocument/2006/relationships/image" Target="../media/image7.gi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6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2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png"/><Relationship Id="rId18" Type="http://schemas.openxmlformats.org/officeDocument/2006/relationships/image" Target="../media/image23.png"/><Relationship Id="rId3" Type="http://schemas.openxmlformats.org/officeDocument/2006/relationships/image" Target="../media/image2.png"/><Relationship Id="rId21" Type="http://schemas.openxmlformats.org/officeDocument/2006/relationships/image" Target="../media/image26.png"/><Relationship Id="rId7" Type="http://schemas.openxmlformats.org/officeDocument/2006/relationships/image" Target="../media/image12.png"/><Relationship Id="rId12" Type="http://schemas.openxmlformats.org/officeDocument/2006/relationships/image" Target="../media/image17.png"/><Relationship Id="rId17" Type="http://schemas.openxmlformats.org/officeDocument/2006/relationships/image" Target="../media/image22.png"/><Relationship Id="rId25" Type="http://schemas.openxmlformats.org/officeDocument/2006/relationships/image" Target="../media/image30.jpeg"/><Relationship Id="rId2" Type="http://schemas.openxmlformats.org/officeDocument/2006/relationships/image" Target="../media/image8.png"/><Relationship Id="rId16" Type="http://schemas.openxmlformats.org/officeDocument/2006/relationships/image" Target="../media/image21.png"/><Relationship Id="rId20" Type="http://schemas.openxmlformats.org/officeDocument/2006/relationships/image" Target="../media/image25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.png"/><Relationship Id="rId11" Type="http://schemas.openxmlformats.org/officeDocument/2006/relationships/image" Target="../media/image16.png"/><Relationship Id="rId24" Type="http://schemas.openxmlformats.org/officeDocument/2006/relationships/image" Target="../media/image29.jpeg"/><Relationship Id="rId5" Type="http://schemas.openxmlformats.org/officeDocument/2006/relationships/image" Target="../media/image10.png"/><Relationship Id="rId15" Type="http://schemas.openxmlformats.org/officeDocument/2006/relationships/image" Target="../media/image20.png"/><Relationship Id="rId23" Type="http://schemas.openxmlformats.org/officeDocument/2006/relationships/image" Target="../media/image28.jpeg"/><Relationship Id="rId10" Type="http://schemas.openxmlformats.org/officeDocument/2006/relationships/image" Target="../media/image15.png"/><Relationship Id="rId19" Type="http://schemas.openxmlformats.org/officeDocument/2006/relationships/image" Target="../media/image24.gif"/><Relationship Id="rId4" Type="http://schemas.openxmlformats.org/officeDocument/2006/relationships/image" Target="../media/image9.gif"/><Relationship Id="rId9" Type="http://schemas.openxmlformats.org/officeDocument/2006/relationships/image" Target="../media/image14.png"/><Relationship Id="rId14" Type="http://schemas.openxmlformats.org/officeDocument/2006/relationships/image" Target="../media/image19.png"/><Relationship Id="rId22" Type="http://schemas.openxmlformats.org/officeDocument/2006/relationships/image" Target="../media/image27.png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image" Target="../media/image42.png"/><Relationship Id="rId18" Type="http://schemas.openxmlformats.org/officeDocument/2006/relationships/image" Target="../media/image47.png"/><Relationship Id="rId26" Type="http://schemas.openxmlformats.org/officeDocument/2006/relationships/image" Target="../media/image54.png"/><Relationship Id="rId39" Type="http://schemas.openxmlformats.org/officeDocument/2006/relationships/image" Target="../media/image66.png"/><Relationship Id="rId21" Type="http://schemas.openxmlformats.org/officeDocument/2006/relationships/image" Target="../media/image49.png"/><Relationship Id="rId34" Type="http://schemas.openxmlformats.org/officeDocument/2006/relationships/image" Target="../media/image61.png"/><Relationship Id="rId42" Type="http://schemas.openxmlformats.org/officeDocument/2006/relationships/image" Target="../media/image69.png"/><Relationship Id="rId7" Type="http://schemas.openxmlformats.org/officeDocument/2006/relationships/image" Target="../media/image36.png"/><Relationship Id="rId2" Type="http://schemas.openxmlformats.org/officeDocument/2006/relationships/image" Target="../media/image31.png"/><Relationship Id="rId16" Type="http://schemas.openxmlformats.org/officeDocument/2006/relationships/image" Target="../media/image45.png"/><Relationship Id="rId20" Type="http://schemas.openxmlformats.org/officeDocument/2006/relationships/image" Target="../media/image2.png"/><Relationship Id="rId29" Type="http://schemas.openxmlformats.org/officeDocument/2006/relationships/image" Target="../media/image56.png"/><Relationship Id="rId41" Type="http://schemas.openxmlformats.org/officeDocument/2006/relationships/image" Target="../media/image68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5.png"/><Relationship Id="rId11" Type="http://schemas.openxmlformats.org/officeDocument/2006/relationships/image" Target="../media/image40.png"/><Relationship Id="rId24" Type="http://schemas.openxmlformats.org/officeDocument/2006/relationships/image" Target="../media/image52.png"/><Relationship Id="rId32" Type="http://schemas.openxmlformats.org/officeDocument/2006/relationships/image" Target="../media/image59.png"/><Relationship Id="rId37" Type="http://schemas.openxmlformats.org/officeDocument/2006/relationships/image" Target="../media/image64.png"/><Relationship Id="rId40" Type="http://schemas.openxmlformats.org/officeDocument/2006/relationships/image" Target="../media/image67.png"/><Relationship Id="rId5" Type="http://schemas.openxmlformats.org/officeDocument/2006/relationships/image" Target="../media/image34.png"/><Relationship Id="rId15" Type="http://schemas.openxmlformats.org/officeDocument/2006/relationships/image" Target="../media/image44.png"/><Relationship Id="rId23" Type="http://schemas.openxmlformats.org/officeDocument/2006/relationships/image" Target="../media/image51.png"/><Relationship Id="rId28" Type="http://schemas.openxmlformats.org/officeDocument/2006/relationships/image" Target="../media/image55.png"/><Relationship Id="rId36" Type="http://schemas.openxmlformats.org/officeDocument/2006/relationships/image" Target="../media/image63.png"/><Relationship Id="rId10" Type="http://schemas.openxmlformats.org/officeDocument/2006/relationships/image" Target="../media/image39.png"/><Relationship Id="rId19" Type="http://schemas.openxmlformats.org/officeDocument/2006/relationships/image" Target="../media/image48.png"/><Relationship Id="rId31" Type="http://schemas.openxmlformats.org/officeDocument/2006/relationships/image" Target="../media/image58.png"/><Relationship Id="rId4" Type="http://schemas.openxmlformats.org/officeDocument/2006/relationships/image" Target="../media/image33.png"/><Relationship Id="rId9" Type="http://schemas.openxmlformats.org/officeDocument/2006/relationships/image" Target="../media/image38.png"/><Relationship Id="rId14" Type="http://schemas.openxmlformats.org/officeDocument/2006/relationships/image" Target="../media/image43.png"/><Relationship Id="rId22" Type="http://schemas.openxmlformats.org/officeDocument/2006/relationships/image" Target="../media/image50.png"/><Relationship Id="rId27" Type="http://schemas.openxmlformats.org/officeDocument/2006/relationships/image" Target="../media/image10.png"/><Relationship Id="rId30" Type="http://schemas.openxmlformats.org/officeDocument/2006/relationships/image" Target="../media/image57.png"/><Relationship Id="rId35" Type="http://schemas.openxmlformats.org/officeDocument/2006/relationships/image" Target="../media/image62.png"/><Relationship Id="rId43" Type="http://schemas.openxmlformats.org/officeDocument/2006/relationships/image" Target="../media/image70.png"/><Relationship Id="rId8" Type="http://schemas.openxmlformats.org/officeDocument/2006/relationships/image" Target="../media/image37.png"/><Relationship Id="rId3" Type="http://schemas.openxmlformats.org/officeDocument/2006/relationships/image" Target="../media/image32.png"/><Relationship Id="rId12" Type="http://schemas.openxmlformats.org/officeDocument/2006/relationships/image" Target="../media/image41.png"/><Relationship Id="rId17" Type="http://schemas.openxmlformats.org/officeDocument/2006/relationships/image" Target="../media/image46.png"/><Relationship Id="rId25" Type="http://schemas.openxmlformats.org/officeDocument/2006/relationships/image" Target="../media/image53.png"/><Relationship Id="rId33" Type="http://schemas.openxmlformats.org/officeDocument/2006/relationships/image" Target="../media/image60.png"/><Relationship Id="rId38" Type="http://schemas.openxmlformats.org/officeDocument/2006/relationships/image" Target="../media/image65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png"/><Relationship Id="rId13" Type="http://schemas.openxmlformats.org/officeDocument/2006/relationships/image" Target="../media/image77.png"/><Relationship Id="rId18" Type="http://schemas.openxmlformats.org/officeDocument/2006/relationships/image" Target="../media/image170.svg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image" Target="../media/image71.png"/><Relationship Id="rId12" Type="http://schemas.openxmlformats.org/officeDocument/2006/relationships/image" Target="../media/image76.png"/><Relationship Id="rId2" Type="http://schemas.openxmlformats.org/officeDocument/2006/relationships/tags" Target="../tags/tag4.xml"/><Relationship Id="rId20" Type="http://schemas.openxmlformats.org/officeDocument/2006/relationships/image" Target="../media/image81.png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11" Type="http://schemas.openxmlformats.org/officeDocument/2006/relationships/image" Target="../media/image75.jpeg"/><Relationship Id="rId5" Type="http://schemas.openxmlformats.org/officeDocument/2006/relationships/oleObject" Target="../embeddings/oleObject3.bin"/><Relationship Id="rId15" Type="http://schemas.openxmlformats.org/officeDocument/2006/relationships/image" Target="../media/image79.png"/><Relationship Id="rId10" Type="http://schemas.openxmlformats.org/officeDocument/2006/relationships/image" Target="../media/image74.png"/><Relationship Id="rId19" Type="http://schemas.openxmlformats.org/officeDocument/2006/relationships/image" Target="../media/image80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73.png"/><Relationship Id="rId14" Type="http://schemas.openxmlformats.org/officeDocument/2006/relationships/image" Target="../media/image78.png"/><Relationship Id="rId22" Type="http://schemas.openxmlformats.org/officeDocument/2006/relationships/image" Target="../media/image82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83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8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7" Type="http://schemas.openxmlformats.org/officeDocument/2006/relationships/image" Target="../media/image86.png"/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85.png"/><Relationship Id="rId5" Type="http://schemas.openxmlformats.org/officeDocument/2006/relationships/image" Target="../media/image82.png"/><Relationship Id="rId4" Type="http://schemas.openxmlformats.org/officeDocument/2006/relationships/image" Target="../media/image2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0.png"/><Relationship Id="rId3" Type="http://schemas.openxmlformats.org/officeDocument/2006/relationships/image" Target="../media/image87.png"/><Relationship Id="rId7" Type="http://schemas.openxmlformats.org/officeDocument/2006/relationships/image" Target="../media/image8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88.png"/><Relationship Id="rId5" Type="http://schemas.openxmlformats.org/officeDocument/2006/relationships/image" Target="../media/image82.png"/><Relationship Id="rId4" Type="http://schemas.openxmlformats.org/officeDocument/2006/relationships/image" Target="../media/image2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82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03A2BB27-C1AD-AAC1-A9FA-F792F65B8BB7}"/>
              </a:ext>
            </a:extLst>
          </p:cNvPr>
          <p:cNvSpPr txBox="1"/>
          <p:nvPr/>
        </p:nvSpPr>
        <p:spPr>
          <a:xfrm>
            <a:off x="844722" y="1885246"/>
            <a:ext cx="10868938" cy="3416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44767" fontAlgn="auto">
              <a:spcBef>
                <a:spcPts val="0"/>
              </a:spcBef>
              <a:spcAft>
                <a:spcPts val="0"/>
              </a:spcAft>
            </a:pPr>
            <a:r>
              <a:rPr lang="ru-RU" sz="54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О развитии сервиса «Производственная кооперация и сбыт» на </a:t>
            </a:r>
            <a:r>
              <a:rPr lang="ru-RU" sz="5400" b="1" dirty="0" smtClean="0">
                <a:solidFill>
                  <a:srgbClr val="00B0F0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Цифровой платформе МСП.РФ</a:t>
            </a:r>
            <a:endParaRPr lang="ru-RU" sz="5400" b="1" dirty="0">
              <a:solidFill>
                <a:srgbClr val="00B0F0"/>
              </a:solidFill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pic>
        <p:nvPicPr>
          <p:cNvPr id="16" name="Рисунок 57">
            <a:extLst>
              <a:ext uri="{FF2B5EF4-FFF2-40B4-BE49-F238E27FC236}">
                <a16:creationId xmlns:a16="http://schemas.microsoft.com/office/drawing/2014/main" id="{B09A6947-A8A5-2D52-4E52-307D97028F1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2439" y="850165"/>
            <a:ext cx="1162407" cy="607699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02011" y="934459"/>
            <a:ext cx="2697347" cy="523405"/>
          </a:xfrm>
          <a:prstGeom prst="rect">
            <a:avLst/>
          </a:prstGeom>
        </p:spPr>
      </p:pic>
      <p:sp>
        <p:nvSpPr>
          <p:cNvPr id="9" name="Прямоугольник 8"/>
          <p:cNvSpPr/>
          <p:nvPr/>
        </p:nvSpPr>
        <p:spPr>
          <a:xfrm rot="16200000">
            <a:off x="88534" y="5042067"/>
            <a:ext cx="1039067" cy="180049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44767"/>
            <a:r>
              <a:rPr lang="ru-RU" sz="11100" b="1" dirty="0" smtClean="0">
                <a:ln w="25400">
                  <a:solidFill>
                    <a:srgbClr val="4FCEFF"/>
                  </a:solidFill>
                </a:ln>
                <a:noFill/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↘</a:t>
            </a:r>
            <a:endParaRPr lang="ru-RU" sz="11100" b="1" dirty="0">
              <a:ln w="25400">
                <a:solidFill>
                  <a:srgbClr val="4FCEFF"/>
                </a:solidFill>
              </a:ln>
              <a:noFill/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092291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Прямоугольник 20"/>
          <p:cNvSpPr/>
          <p:nvPr/>
        </p:nvSpPr>
        <p:spPr>
          <a:xfrm>
            <a:off x="355907" y="2335443"/>
            <a:ext cx="5443143" cy="42780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Clr>
                <a:srgbClr val="7030A0"/>
              </a:buClr>
              <a:buFont typeface="Wingdings" panose="05000000000000000000" pitchFamily="2" charset="2"/>
              <a:buChar char="ü"/>
            </a:pPr>
            <a:r>
              <a:rPr lang="ru-RU" sz="1600" dirty="0" smtClean="0">
                <a:latin typeface="PT Root UI Bold" panose="020B0603020202020204" pitchFamily="34" charset="-52"/>
                <a:ea typeface="PT Root UI Bold" panose="020B0603020202020204" pitchFamily="34" charset="-52"/>
              </a:rPr>
              <a:t>Обновлен перечень основных видов деятельности </a:t>
            </a:r>
            <a:r>
              <a:rPr lang="ru-RU" sz="1600" dirty="0" smtClean="0">
                <a:latin typeface="PT Root UI" panose="020B0303020202020204" pitchFamily="34" charset="-52"/>
                <a:ea typeface="PT Root UI" panose="020B0303020202020204" pitchFamily="34" charset="-52"/>
              </a:rPr>
              <a:t>субъектов МСП для включения в Реестр</a:t>
            </a:r>
          </a:p>
          <a:p>
            <a:pPr marL="285750" indent="-285750">
              <a:buClr>
                <a:srgbClr val="7030A0"/>
              </a:buClr>
              <a:buFont typeface="Wingdings" panose="05000000000000000000" pitchFamily="2" charset="2"/>
              <a:buChar char="ü"/>
            </a:pPr>
            <a:r>
              <a:rPr lang="ru-RU" sz="1600" dirty="0" smtClean="0">
                <a:latin typeface="PT Root UI Bold" panose="020B0603020202020204" pitchFamily="34" charset="-52"/>
                <a:ea typeface="PT Root UI Bold" panose="020B0603020202020204" pitchFamily="34" charset="-52"/>
              </a:rPr>
              <a:t>К</a:t>
            </a:r>
            <a:r>
              <a:rPr lang="ru-RU" sz="1600" b="1" dirty="0" smtClean="0">
                <a:latin typeface="PT Root UI Bold" panose="020B0603020202020204" pitchFamily="34" charset="-52"/>
                <a:ea typeface="PT Root UI Bold" panose="020B0603020202020204" pitchFamily="34" charset="-52"/>
              </a:rPr>
              <a:t>лассификатор </a:t>
            </a:r>
            <a:r>
              <a:rPr lang="ru-RU" sz="1600" dirty="0" smtClean="0">
                <a:latin typeface="PT Root UI Bold" panose="020B0603020202020204" pitchFamily="34" charset="-52"/>
                <a:ea typeface="PT Root UI Bold" panose="020B0603020202020204" pitchFamily="34" charset="-52"/>
              </a:rPr>
              <a:t>продукции </a:t>
            </a:r>
            <a:r>
              <a:rPr lang="ru-RU" sz="1600" dirty="0" smtClean="0">
                <a:latin typeface="PT Root UI" panose="020B0303020202020204" pitchFamily="34" charset="-52"/>
                <a:ea typeface="PT Root UI" panose="020B0303020202020204" pitchFamily="34" charset="-52"/>
              </a:rPr>
              <a:t>по модели Единого каталога </a:t>
            </a:r>
            <a:r>
              <a:rPr lang="ru-RU" sz="1600" dirty="0">
                <a:latin typeface="PT Root UI" panose="020B0303020202020204" pitchFamily="34" charset="-52"/>
                <a:ea typeface="PT Root UI" panose="020B0303020202020204" pitchFamily="34" charset="-52"/>
              </a:rPr>
              <a:t>товаров, работ, услуг (ЕКТРУ</a:t>
            </a:r>
            <a:r>
              <a:rPr lang="ru-RU" sz="1600" dirty="0" smtClean="0">
                <a:latin typeface="PT Root UI" panose="020B0303020202020204" pitchFamily="34" charset="-52"/>
                <a:ea typeface="PT Root UI" panose="020B0303020202020204" pitchFamily="34" charset="-52"/>
              </a:rPr>
              <a:t>)</a:t>
            </a:r>
          </a:p>
          <a:p>
            <a:pPr marL="285750" indent="-285750">
              <a:buClr>
                <a:srgbClr val="7030A0"/>
              </a:buClr>
              <a:buFont typeface="Wingdings" panose="05000000000000000000" pitchFamily="2" charset="2"/>
              <a:buChar char="ü"/>
            </a:pPr>
            <a:r>
              <a:rPr lang="ru-RU" sz="1600" dirty="0" smtClean="0">
                <a:latin typeface="PT Root UI Bold" panose="020B0603020202020204" pitchFamily="34" charset="-52"/>
                <a:ea typeface="PT Root UI Bold" panose="020B0603020202020204" pitchFamily="34" charset="-52"/>
              </a:rPr>
              <a:t>Карточки товаров </a:t>
            </a:r>
            <a:r>
              <a:rPr lang="ru-RU" sz="1600" dirty="0" smtClean="0">
                <a:latin typeface="PT Root UI" panose="020B0303020202020204" pitchFamily="34" charset="-52"/>
                <a:ea typeface="PT Root UI" panose="020B0303020202020204" pitchFamily="34" charset="-52"/>
              </a:rPr>
              <a:t>(с фото), обновлен состав информации о компании и производимой продукции </a:t>
            </a:r>
          </a:p>
          <a:p>
            <a:pPr marL="285750" indent="-285750">
              <a:buClr>
                <a:srgbClr val="7030A0"/>
              </a:buClr>
              <a:buFont typeface="Wingdings" panose="05000000000000000000" pitchFamily="2" charset="2"/>
              <a:buChar char="ü"/>
            </a:pPr>
            <a:r>
              <a:rPr lang="ru-RU" sz="1600" dirty="0" smtClean="0">
                <a:latin typeface="PT Root UI Bold" panose="020B0603020202020204" pitchFamily="34" charset="-52"/>
                <a:ea typeface="PT Root UI Bold" panose="020B0603020202020204" pitchFamily="34" charset="-52"/>
              </a:rPr>
              <a:t>Чат с компаниями из Реестра </a:t>
            </a:r>
            <a:r>
              <a:rPr lang="ru-RU" sz="1600" dirty="0" smtClean="0">
                <a:latin typeface="PT Root UI" panose="020B0303020202020204" pitchFamily="34" charset="-52"/>
                <a:ea typeface="PT Root UI" panose="020B0303020202020204" pitchFamily="34" charset="-52"/>
              </a:rPr>
              <a:t>с </a:t>
            </a:r>
            <a:r>
              <a:rPr lang="ru-RU" sz="1600" dirty="0">
                <a:latin typeface="PT Root UI" panose="020B0303020202020204" pitchFamily="34" charset="-52"/>
                <a:ea typeface="PT Root UI" panose="020B0303020202020204" pitchFamily="34" charset="-52"/>
              </a:rPr>
              <a:t>возможностью </a:t>
            </a:r>
            <a:r>
              <a:rPr lang="ru-RU" sz="1600" dirty="0" smtClean="0">
                <a:latin typeface="PT Root UI" panose="020B0303020202020204" pitchFamily="34" charset="-52"/>
                <a:ea typeface="PT Root UI" panose="020B0303020202020204" pitchFamily="34" charset="-52"/>
              </a:rPr>
              <a:t>пересылки файлов и уведомлениями на </a:t>
            </a:r>
            <a:r>
              <a:rPr lang="en-US" sz="1600" dirty="0" smtClean="0">
                <a:latin typeface="PT Root UI" panose="020B0303020202020204" pitchFamily="34" charset="-52"/>
                <a:ea typeface="PT Root UI" panose="020B0303020202020204" pitchFamily="34" charset="-52"/>
              </a:rPr>
              <a:t>e-mail</a:t>
            </a:r>
            <a:endParaRPr lang="ru-RU" sz="1600" dirty="0" smtClean="0">
              <a:latin typeface="PT Root UI" panose="020B0303020202020204" pitchFamily="34" charset="-52"/>
              <a:ea typeface="PT Root UI" panose="020B0303020202020204" pitchFamily="34" charset="-52"/>
            </a:endParaRPr>
          </a:p>
          <a:p>
            <a:pPr marL="285750" indent="-285750">
              <a:buClr>
                <a:srgbClr val="7030A0"/>
              </a:buClr>
              <a:buFont typeface="Wingdings" panose="05000000000000000000" pitchFamily="2" charset="2"/>
              <a:buChar char="ü"/>
            </a:pPr>
            <a:r>
              <a:rPr lang="ru-RU" sz="1600" dirty="0" smtClean="0">
                <a:latin typeface="PT Root UI Bold" panose="020B0603020202020204" pitchFamily="34" charset="-52"/>
                <a:ea typeface="PT Root UI Bold" panose="020B0603020202020204" pitchFamily="34" charset="-52"/>
              </a:rPr>
              <a:t>Система рекомендаций </a:t>
            </a:r>
            <a:r>
              <a:rPr lang="ru-RU" sz="1600" dirty="0" smtClean="0">
                <a:latin typeface="PT Root UI" panose="020B0303020202020204" pitchFamily="34" charset="-52"/>
                <a:ea typeface="PT Root UI" panose="020B0303020202020204" pitchFamily="34" charset="-52"/>
              </a:rPr>
              <a:t>похожих товаров (услуг) других компаний из Реестра</a:t>
            </a:r>
          </a:p>
          <a:p>
            <a:pPr marL="285750" indent="-285750">
              <a:buClr>
                <a:srgbClr val="7030A0"/>
              </a:buClr>
              <a:buFont typeface="Wingdings" panose="05000000000000000000" pitchFamily="2" charset="2"/>
              <a:buChar char="ü"/>
            </a:pPr>
            <a:r>
              <a:rPr lang="ru-RU" sz="1600" dirty="0" smtClean="0">
                <a:latin typeface="PT Root UI Bold" panose="020B0603020202020204" pitchFamily="34" charset="-52"/>
                <a:ea typeface="PT Root UI Bold" panose="020B0603020202020204" pitchFamily="34" charset="-52"/>
              </a:rPr>
              <a:t>Подписка на </a:t>
            </a:r>
            <a:r>
              <a:rPr lang="ru-RU" sz="1600" dirty="0">
                <a:latin typeface="PT Root UI Bold" panose="020B0603020202020204" pitchFamily="34" charset="-52"/>
                <a:ea typeface="PT Root UI Bold" panose="020B0603020202020204" pitchFamily="34" charset="-52"/>
              </a:rPr>
              <a:t>уведомления </a:t>
            </a:r>
            <a:r>
              <a:rPr lang="ru-RU" sz="1600" dirty="0" smtClean="0">
                <a:latin typeface="PT Root UI Bold" panose="020B0603020202020204" pitchFamily="34" charset="-52"/>
                <a:ea typeface="PT Root UI Bold" panose="020B0603020202020204" pitchFamily="34" charset="-52"/>
              </a:rPr>
              <a:t>о </a:t>
            </a:r>
            <a:r>
              <a:rPr lang="ru-RU" sz="1600" dirty="0">
                <a:latin typeface="PT Root UI Bold" panose="020B0603020202020204" pitchFamily="34" charset="-52"/>
                <a:ea typeface="PT Root UI Bold" panose="020B0603020202020204" pitchFamily="34" charset="-52"/>
              </a:rPr>
              <a:t>новых </a:t>
            </a:r>
            <a:r>
              <a:rPr lang="ru-RU" sz="1600" dirty="0" smtClean="0">
                <a:latin typeface="PT Root UI Bold" panose="020B0603020202020204" pitchFamily="34" charset="-52"/>
                <a:ea typeface="PT Root UI Bold" panose="020B0603020202020204" pitchFamily="34" charset="-52"/>
              </a:rPr>
              <a:t>товарах в Реестре </a:t>
            </a:r>
            <a:r>
              <a:rPr lang="ru-RU" sz="1600" dirty="0" smtClean="0">
                <a:latin typeface="PT Root UI" panose="020B0303020202020204" pitchFamily="34" charset="-52"/>
                <a:ea typeface="PT Root UI" panose="020B0303020202020204" pitchFamily="34" charset="-52"/>
              </a:rPr>
              <a:t>по </a:t>
            </a:r>
            <a:r>
              <a:rPr lang="ru-RU" sz="1600" dirty="0">
                <a:latin typeface="PT Root UI" panose="020B0303020202020204" pitchFamily="34" charset="-52"/>
                <a:ea typeface="PT Root UI" panose="020B0303020202020204" pitchFamily="34" charset="-52"/>
              </a:rPr>
              <a:t>заданным </a:t>
            </a:r>
            <a:r>
              <a:rPr lang="ru-RU" sz="1600" dirty="0" smtClean="0">
                <a:latin typeface="PT Root UI" panose="020B0303020202020204" pitchFamily="34" charset="-52"/>
                <a:ea typeface="PT Root UI" panose="020B0303020202020204" pitchFamily="34" charset="-52"/>
              </a:rPr>
              <a:t>параметрам</a:t>
            </a:r>
            <a:r>
              <a:rPr lang="ru-RU" sz="1600" dirty="0">
                <a:latin typeface="PT Root UI" panose="020B0303020202020204" pitchFamily="34" charset="-52"/>
                <a:ea typeface="PT Root UI" panose="020B0303020202020204" pitchFamily="34" charset="-52"/>
              </a:rPr>
              <a:t> </a:t>
            </a:r>
            <a:r>
              <a:rPr lang="ru-RU" sz="1600" dirty="0" smtClean="0">
                <a:latin typeface="PT Root UI" panose="020B0303020202020204" pitchFamily="34" charset="-52"/>
                <a:ea typeface="PT Root UI" panose="020B0303020202020204" pitchFamily="34" charset="-52"/>
              </a:rPr>
              <a:t>(возможность настройки до </a:t>
            </a:r>
            <a:r>
              <a:rPr lang="ru-RU" sz="1600" dirty="0">
                <a:latin typeface="PT Root UI" panose="020B0303020202020204" pitchFamily="34" charset="-52"/>
                <a:ea typeface="PT Root UI" panose="020B0303020202020204" pitchFamily="34" charset="-52"/>
              </a:rPr>
              <a:t>5 </a:t>
            </a:r>
            <a:r>
              <a:rPr lang="ru-RU" sz="1600" dirty="0" smtClean="0">
                <a:latin typeface="PT Root UI" panose="020B0303020202020204" pitchFamily="34" charset="-52"/>
                <a:ea typeface="PT Root UI" panose="020B0303020202020204" pitchFamily="34" charset="-52"/>
              </a:rPr>
              <a:t>подписок)</a:t>
            </a:r>
          </a:p>
          <a:p>
            <a:pPr marL="285750" indent="-285750">
              <a:buClr>
                <a:srgbClr val="7030A0"/>
              </a:buClr>
              <a:buFont typeface="Wingdings" panose="05000000000000000000" pitchFamily="2" charset="2"/>
              <a:buChar char="ü"/>
            </a:pPr>
            <a:r>
              <a:rPr lang="ru-RU" sz="1600" dirty="0" smtClean="0">
                <a:latin typeface="PT Root UI Bold" panose="020B0603020202020204" pitchFamily="34" charset="-52"/>
                <a:ea typeface="PT Root UI Bold" panose="020B0603020202020204" pitchFamily="34" charset="-52"/>
              </a:rPr>
              <a:t>«Умная» поисковая строка</a:t>
            </a:r>
          </a:p>
          <a:p>
            <a:pPr marL="285750" indent="-285750">
              <a:buClr>
                <a:srgbClr val="7030A0"/>
              </a:buClr>
              <a:buFont typeface="Wingdings" panose="05000000000000000000" pitchFamily="2" charset="2"/>
              <a:buChar char="ü"/>
            </a:pPr>
            <a:r>
              <a:rPr lang="ru-RU" sz="1600" dirty="0" smtClean="0">
                <a:latin typeface="PT Root UI Bold" panose="020B0603020202020204" pitchFamily="34" charset="-52"/>
                <a:ea typeface="PT Root UI Bold" panose="020B0603020202020204" pitchFamily="34" charset="-52"/>
              </a:rPr>
              <a:t>Проверка опыта поставок и контактной информации </a:t>
            </a:r>
            <a:r>
              <a:rPr lang="ru-RU" sz="1600" dirty="0" smtClean="0">
                <a:latin typeface="PT Root UI" panose="020B0303020202020204" pitchFamily="34" charset="-52"/>
                <a:ea typeface="PT Root UI" panose="020B0303020202020204" pitchFamily="34" charset="-52"/>
              </a:rPr>
              <a:t>сотрудниками Корпорации МСП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6074758" y="2335782"/>
            <a:ext cx="5467545" cy="32932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Clr>
                <a:srgbClr val="7030A0"/>
              </a:buClr>
              <a:buFont typeface="Wingdings" panose="05000000000000000000" pitchFamily="2" charset="2"/>
              <a:buChar char="ü"/>
            </a:pPr>
            <a:r>
              <a:rPr lang="ru-RU" sz="1600" dirty="0" smtClean="0">
                <a:latin typeface="PT Root UI" panose="020B0303020202020204" pitchFamily="34" charset="-52"/>
                <a:ea typeface="PT Root UI" panose="020B0303020202020204" pitchFamily="34" charset="-52"/>
              </a:rPr>
              <a:t>Функционал </a:t>
            </a:r>
            <a:r>
              <a:rPr lang="ru-RU" sz="1600" dirty="0">
                <a:latin typeface="PT Root UI Bold" panose="020B0603020202020204" pitchFamily="34" charset="-52"/>
                <a:ea typeface="PT Root UI Bold" panose="020B0603020202020204" pitchFamily="34" charset="-52"/>
              </a:rPr>
              <a:t>для </a:t>
            </a:r>
            <a:r>
              <a:rPr lang="ru-RU" sz="1600" dirty="0" smtClean="0">
                <a:latin typeface="PT Root UI Bold" panose="020B0603020202020204" pitchFamily="34" charset="-52"/>
                <a:ea typeface="PT Root UI Bold" panose="020B0603020202020204" pitchFamily="34" charset="-52"/>
              </a:rPr>
              <a:t>самостоятельного размещения </a:t>
            </a:r>
            <a:r>
              <a:rPr lang="ru-RU" sz="1600" dirty="0">
                <a:latin typeface="PT Root UI Bold" panose="020B0603020202020204" pitchFamily="34" charset="-52"/>
                <a:ea typeface="PT Root UI Bold" panose="020B0603020202020204" pitchFamily="34" charset="-52"/>
              </a:rPr>
              <a:t>потребностей </a:t>
            </a:r>
            <a:r>
              <a:rPr lang="ru-RU" sz="1600" dirty="0">
                <a:latin typeface="PT Root UI" panose="020B0303020202020204" pitchFamily="34" charset="-52"/>
                <a:ea typeface="PT Root UI" panose="020B0303020202020204" pitchFamily="34" charset="-52"/>
              </a:rPr>
              <a:t>авторизованными </a:t>
            </a:r>
            <a:r>
              <a:rPr lang="ru-RU" sz="1600" dirty="0" smtClean="0">
                <a:latin typeface="PT Root UI" panose="020B0303020202020204" pitchFamily="34" charset="-52"/>
                <a:ea typeface="PT Root UI" panose="020B0303020202020204" pitchFamily="34" charset="-52"/>
              </a:rPr>
              <a:t>пользователями</a:t>
            </a:r>
          </a:p>
          <a:p>
            <a:pPr marL="342900" indent="-342900">
              <a:buClr>
                <a:srgbClr val="7030A0"/>
              </a:buClr>
              <a:buFont typeface="Courier New" panose="02070309020205020404" pitchFamily="49" charset="0"/>
              <a:buChar char="o"/>
            </a:pPr>
            <a:endParaRPr lang="ru-RU" sz="1600" dirty="0" smtClean="0">
              <a:latin typeface="PT Root UI" panose="020B0303020202020204" pitchFamily="34" charset="-52"/>
              <a:ea typeface="PT Root UI" panose="020B0303020202020204" pitchFamily="34" charset="-52"/>
            </a:endParaRPr>
          </a:p>
          <a:p>
            <a:pPr marL="285750" indent="-285750">
              <a:buClr>
                <a:srgbClr val="7030A0"/>
              </a:buClr>
              <a:buFont typeface="Wingdings" panose="05000000000000000000" pitchFamily="2" charset="2"/>
              <a:buChar char="ü"/>
            </a:pPr>
            <a:r>
              <a:rPr lang="ru-RU" sz="1600" dirty="0" smtClean="0">
                <a:latin typeface="PT Root UI" panose="020B0303020202020204" pitchFamily="34" charset="-52"/>
                <a:ea typeface="PT Root UI" panose="020B0303020202020204" pitchFamily="34" charset="-52"/>
              </a:rPr>
              <a:t>Уведомление </a:t>
            </a:r>
            <a:r>
              <a:rPr lang="ru-RU" sz="1600" dirty="0">
                <a:latin typeface="PT Root UI" panose="020B0303020202020204" pitchFamily="34" charset="-52"/>
                <a:ea typeface="PT Root UI" panose="020B0303020202020204" pitchFamily="34" charset="-52"/>
              </a:rPr>
              <a:t>пользователей </a:t>
            </a:r>
            <a:r>
              <a:rPr lang="ru-RU" sz="1600" dirty="0">
                <a:latin typeface="PT Root UI Bold" panose="020B0603020202020204" pitchFamily="34" charset="-52"/>
                <a:ea typeface="PT Root UI Bold" panose="020B0603020202020204" pitchFamily="34" charset="-52"/>
              </a:rPr>
              <a:t>о публикации новых </a:t>
            </a:r>
            <a:r>
              <a:rPr lang="ru-RU" sz="1600" dirty="0" smtClean="0">
                <a:latin typeface="PT Root UI Bold" panose="020B0603020202020204" pitchFamily="34" charset="-52"/>
                <a:ea typeface="PT Root UI Bold" panose="020B0603020202020204" pitchFamily="34" charset="-52"/>
              </a:rPr>
              <a:t>потребностей </a:t>
            </a:r>
            <a:r>
              <a:rPr lang="ru-RU" sz="1600" dirty="0" smtClean="0">
                <a:latin typeface="PT Root UI" panose="020B0303020202020204" pitchFamily="34" charset="-52"/>
                <a:ea typeface="PT Root UI" panose="020B0303020202020204" pitchFamily="34" charset="-52"/>
              </a:rPr>
              <a:t>в </a:t>
            </a:r>
            <a:r>
              <a:rPr lang="ru-RU" sz="1600" dirty="0">
                <a:latin typeface="PT Root UI" panose="020B0303020202020204" pitchFamily="34" charset="-52"/>
                <a:ea typeface="PT Root UI" panose="020B0303020202020204" pitchFamily="34" charset="-52"/>
              </a:rPr>
              <a:t>формате подписки (возможность настройки до 5 подписок)</a:t>
            </a:r>
            <a:endParaRPr lang="ru-RU" sz="1600" dirty="0" smtClean="0">
              <a:solidFill>
                <a:srgbClr val="FFFF00"/>
              </a:solidFill>
              <a:latin typeface="PT Root UI" panose="020B0303020202020204" pitchFamily="34" charset="-52"/>
              <a:ea typeface="PT Root UI" panose="020B0303020202020204" pitchFamily="34" charset="-52"/>
            </a:endParaRPr>
          </a:p>
          <a:p>
            <a:pPr marL="342900" indent="-342900">
              <a:buClr>
                <a:srgbClr val="7030A0"/>
              </a:buClr>
              <a:buFont typeface="Wingdings" panose="05000000000000000000" pitchFamily="2" charset="2"/>
              <a:buChar char="ü"/>
            </a:pPr>
            <a:endParaRPr lang="ru-RU" sz="1600" dirty="0">
              <a:solidFill>
                <a:srgbClr val="FFFF00"/>
              </a:solidFill>
              <a:latin typeface="PT Root UI" panose="020B0303020202020204" pitchFamily="34" charset="-52"/>
              <a:ea typeface="PT Root UI" panose="020B0303020202020204" pitchFamily="34" charset="-52"/>
              <a:cs typeface="Segoe UI Semibold" panose="020B0702040204020203" pitchFamily="34" charset="0"/>
            </a:endParaRPr>
          </a:p>
          <a:p>
            <a:pPr marL="285750" indent="-285750">
              <a:buClr>
                <a:srgbClr val="7030A0"/>
              </a:buClr>
              <a:buFont typeface="Wingdings" panose="05000000000000000000" pitchFamily="2" charset="2"/>
              <a:buChar char="ü"/>
            </a:pPr>
            <a:r>
              <a:rPr lang="ru-RU" sz="1600" dirty="0" smtClean="0">
                <a:latin typeface="PT Root UI Bold" panose="020B0603020202020204" pitchFamily="34" charset="-52"/>
                <a:ea typeface="PT Root UI Bold" panose="020B0603020202020204" pitchFamily="34" charset="-52"/>
              </a:rPr>
              <a:t>Отдельные страницы для каждой номенклатурной позиции</a:t>
            </a:r>
            <a:r>
              <a:rPr lang="ru-RU" sz="1600" dirty="0" smtClean="0">
                <a:latin typeface="PT Root UI" panose="020B0303020202020204" pitchFamily="34" charset="-52"/>
                <a:ea typeface="PT Root UI" panose="020B0303020202020204" pitchFamily="34" charset="-52"/>
              </a:rPr>
              <a:t> потребностей (индивидуальные ссылки)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ru-RU" sz="1600" dirty="0" smtClean="0">
              <a:latin typeface="PT Root UI" panose="020B0303020202020204" pitchFamily="34" charset="-52"/>
              <a:ea typeface="PT Root UI" panose="020B0303020202020204" pitchFamily="34" charset="-52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600" dirty="0" smtClean="0">
                <a:latin typeface="PT Root UI" panose="020B0303020202020204" pitchFamily="34" charset="-52"/>
                <a:ea typeface="PT Root UI" panose="020B0303020202020204" pitchFamily="34" charset="-52"/>
              </a:rPr>
              <a:t>Возможность для руководителя </a:t>
            </a:r>
            <a:r>
              <a:rPr lang="ru-RU" sz="1600" dirty="0">
                <a:latin typeface="PT Root UI" panose="020B0303020202020204" pitchFamily="34" charset="-52"/>
                <a:ea typeface="PT Root UI" panose="020B0303020202020204" pitchFamily="34" charset="-52"/>
              </a:rPr>
              <a:t>организации </a:t>
            </a:r>
            <a:r>
              <a:rPr lang="ru-RU" sz="1600" dirty="0" smtClean="0">
                <a:latin typeface="PT Root UI Bold" panose="020B0603020202020204" pitchFamily="34" charset="-52"/>
                <a:ea typeface="PT Root UI Bold" panose="020B0603020202020204" pitchFamily="34" charset="-52"/>
              </a:rPr>
              <a:t>назначить </a:t>
            </a:r>
            <a:r>
              <a:rPr lang="ru-RU" sz="1600" dirty="0">
                <a:latin typeface="PT Root UI Bold" panose="020B0603020202020204" pitchFamily="34" charset="-52"/>
                <a:ea typeface="PT Root UI Bold" panose="020B0603020202020204" pitchFamily="34" charset="-52"/>
              </a:rPr>
              <a:t>ответственного сотрудника </a:t>
            </a:r>
            <a:r>
              <a:rPr lang="ru-RU" sz="1600" dirty="0">
                <a:latin typeface="PT Root UI" panose="020B0303020202020204" pitchFamily="34" charset="-52"/>
                <a:ea typeface="PT Root UI" panose="020B0303020202020204" pitchFamily="34" charset="-52"/>
              </a:rPr>
              <a:t>для работы с </a:t>
            </a:r>
            <a:r>
              <a:rPr lang="ru-RU" sz="1600" dirty="0" smtClean="0">
                <a:latin typeface="PT Root UI" panose="020B0303020202020204" pitchFamily="34" charset="-52"/>
                <a:ea typeface="PT Root UI" panose="020B0303020202020204" pitchFamily="34" charset="-52"/>
              </a:rPr>
              <a:t>сервисом</a:t>
            </a:r>
            <a:endParaRPr lang="ru-RU" sz="1600" dirty="0">
              <a:solidFill>
                <a:srgbClr val="FFFF00"/>
              </a:solidFill>
              <a:latin typeface="PT Root UI" panose="020B0303020202020204" pitchFamily="34" charset="-52"/>
              <a:ea typeface="PT Root UI" panose="020B0303020202020204" pitchFamily="34" charset="-52"/>
              <a:cs typeface="Segoe UI Semibold" panose="020B0702040204020203" pitchFamily="34" charset="0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482543" y="1568235"/>
            <a:ext cx="5123127" cy="767208"/>
          </a:xfrm>
          <a:prstGeom prst="roundRect">
            <a:avLst>
              <a:gd name="adj" fmla="val 29486"/>
            </a:avLst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dirty="0" smtClean="0">
                <a:solidFill>
                  <a:schemeClr val="bg1"/>
                </a:solidFill>
                <a:latin typeface="PT Root UI Bold" panose="020B0603020202020204" pitchFamily="34" charset="-52"/>
                <a:ea typeface="PT Root UI Bold" panose="020B0603020202020204" pitchFamily="34" charset="-52"/>
                <a:cs typeface="Segoe UI Semibold" panose="020B0702040204020203" pitchFamily="34" charset="0"/>
              </a:rPr>
              <a:t>Реестр промышленных компаний</a:t>
            </a:r>
            <a:endParaRPr lang="ru-RU" dirty="0">
              <a:solidFill>
                <a:schemeClr val="bg1"/>
              </a:solidFill>
              <a:latin typeface="PT Root UI Bold" panose="020B0603020202020204" pitchFamily="34" charset="-52"/>
              <a:ea typeface="PT Root UI Bold" panose="020B0603020202020204" pitchFamily="34" charset="-52"/>
              <a:cs typeface="Segoe UI Semibold" panose="020B0702040204020203" pitchFamily="34" charset="0"/>
            </a:endParaRP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6180536" y="1536999"/>
            <a:ext cx="5718205" cy="767208"/>
          </a:xfrm>
          <a:prstGeom prst="roundRect">
            <a:avLst>
              <a:gd name="adj" fmla="val 29486"/>
            </a:avLst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dirty="0" smtClean="0">
                <a:solidFill>
                  <a:schemeClr val="bg1"/>
                </a:solidFill>
                <a:latin typeface="PT Root UI Bold" panose="020B0603020202020204" pitchFamily="34" charset="-52"/>
                <a:ea typeface="PT Root UI Bold" panose="020B0603020202020204" pitchFamily="34" charset="-52"/>
                <a:cs typeface="Segoe UI Semibold" panose="020B0702040204020203" pitchFamily="34" charset="0"/>
              </a:rPr>
              <a:t>Стать поставщиком ритейлеров и производителей</a:t>
            </a:r>
            <a:endParaRPr lang="ru-RU" sz="2000" dirty="0">
              <a:solidFill>
                <a:schemeClr val="bg1"/>
              </a:solidFill>
              <a:latin typeface="PT Root UI Bold" panose="020B0603020202020204" pitchFamily="34" charset="-52"/>
              <a:ea typeface="PT Root UI Bold" panose="020B0603020202020204" pitchFamily="34" charset="-52"/>
              <a:cs typeface="Segoe UI Semibold" panose="020B0702040204020203" pitchFamily="34" charset="0"/>
            </a:endParaRPr>
          </a:p>
        </p:txBody>
      </p:sp>
      <p:sp>
        <p:nvSpPr>
          <p:cNvPr id="14" name="Номер слайда 1">
            <a:extLst>
              <a:ext uri="{FF2B5EF4-FFF2-40B4-BE49-F238E27FC236}">
                <a16:creationId xmlns:a16="http://schemas.microsoft.com/office/drawing/2014/main" id="{ACB90E8B-B8F0-2A74-9BCE-5040131924F9}"/>
              </a:ext>
            </a:extLst>
          </p:cNvPr>
          <p:cNvSpPr txBox="1">
            <a:spLocks/>
          </p:cNvSpPr>
          <p:nvPr/>
        </p:nvSpPr>
        <p:spPr>
          <a:xfrm>
            <a:off x="11542303" y="6613537"/>
            <a:ext cx="509848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F49150-8608-4927-A2AD-0FD9DDF7E69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355907" y="1083000"/>
            <a:ext cx="890179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dirty="0" smtClean="0">
                <a:latin typeface="PT Root UI" panose="020B0303020202020204" pitchFamily="34" charset="-52"/>
                <a:ea typeface="PT Root UI" panose="020B0303020202020204" pitchFamily="34" charset="-52"/>
                <a:cs typeface="Segoe UI Semibold" panose="020B0702040204020203" pitchFamily="34" charset="0"/>
              </a:rPr>
              <a:t>Добавлены онбординг-подсказки и новый функционал модулей сервиса:</a:t>
            </a:r>
            <a:endParaRPr lang="ru-RU" sz="2000" dirty="0">
              <a:latin typeface="PT Root UI" panose="020B0303020202020204" pitchFamily="34" charset="-52"/>
              <a:ea typeface="PT Root UI" panose="020B0303020202020204" pitchFamily="34" charset="-52"/>
              <a:cs typeface="Segoe UI Semibold" panose="020B0702040204020203" pitchFamily="34" charset="0"/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3621" y="548239"/>
            <a:ext cx="1465327" cy="155484"/>
          </a:xfrm>
          <a:prstGeom prst="rect">
            <a:avLst/>
          </a:prstGeom>
        </p:spPr>
      </p:pic>
      <p:pic>
        <p:nvPicPr>
          <p:cNvPr id="12" name="Рисунок 61">
            <a:extLst>
              <a:ext uri="{FF2B5EF4-FFF2-40B4-BE49-F238E27FC236}">
                <a16:creationId xmlns:a16="http://schemas.microsoft.com/office/drawing/2014/main" id="{ED2A8417-2BC5-887B-EC92-40F89A41BEF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01479" y="476250"/>
            <a:ext cx="572813" cy="299463"/>
          </a:xfrm>
          <a:prstGeom prst="rect">
            <a:avLst/>
          </a:prstGeom>
        </p:spPr>
      </p:pic>
      <p:sp>
        <p:nvSpPr>
          <p:cNvPr id="13" name="Rounded Rectangle 8">
            <a:extLst>
              <a:ext uri="{FF2B5EF4-FFF2-40B4-BE49-F238E27FC236}">
                <a16:creationId xmlns:a16="http://schemas.microsoft.com/office/drawing/2014/main" id="{16EF1956-6A2B-C71F-C239-97AB0FAD5F7F}"/>
              </a:ext>
            </a:extLst>
          </p:cNvPr>
          <p:cNvSpPr/>
          <p:nvPr/>
        </p:nvSpPr>
        <p:spPr>
          <a:xfrm>
            <a:off x="6311348" y="5662399"/>
            <a:ext cx="5456582" cy="1043471"/>
          </a:xfrm>
          <a:prstGeom prst="roundRect">
            <a:avLst>
              <a:gd name="adj" fmla="val 8591"/>
            </a:avLst>
          </a:prstGeom>
          <a:noFill/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dirty="0" smtClean="0">
                <a:solidFill>
                  <a:schemeClr val="tx1"/>
                </a:solidFill>
                <a:latin typeface="PT Root UI" panose="020B0303020202020204" pitchFamily="34" charset="-52"/>
                <a:ea typeface="PT Root UI" panose="020B0303020202020204" pitchFamily="34" charset="-52"/>
              </a:rPr>
              <a:t>Также ведутся работы по интеграции </a:t>
            </a:r>
            <a:r>
              <a:rPr lang="ru-RU" sz="1600" dirty="0" smtClean="0">
                <a:solidFill>
                  <a:schemeClr val="tx1"/>
                </a:solidFill>
                <a:latin typeface="PT Root UI Bold" panose="020B0603020202020204" pitchFamily="34" charset="-52"/>
                <a:ea typeface="PT Root UI Bold" panose="020B0603020202020204" pitchFamily="34" charset="-52"/>
              </a:rPr>
              <a:t>Цифровой платформы МСП.РФ </a:t>
            </a:r>
            <a:r>
              <a:rPr lang="ru-RU" sz="1600" dirty="0" smtClean="0">
                <a:solidFill>
                  <a:schemeClr val="tx1"/>
                </a:solidFill>
                <a:latin typeface="PT Root UI" panose="020B0303020202020204" pitchFamily="34" charset="-52"/>
                <a:ea typeface="PT Root UI" panose="020B0303020202020204" pitchFamily="34" charset="-52"/>
              </a:rPr>
              <a:t>с кооперационными площадками </a:t>
            </a:r>
            <a:r>
              <a:rPr lang="ru-RU" sz="1600" dirty="0" smtClean="0">
                <a:solidFill>
                  <a:schemeClr val="tx1"/>
                </a:solidFill>
                <a:latin typeface="PT Root UI Bold" panose="020B0603020202020204" pitchFamily="34" charset="-52"/>
                <a:ea typeface="PT Root UI Bold" panose="020B0603020202020204" pitchFamily="34" charset="-52"/>
              </a:rPr>
              <a:t>Санкт-Петербурга и Республики </a:t>
            </a:r>
            <a:r>
              <a:rPr lang="ru-RU" sz="1600" dirty="0">
                <a:solidFill>
                  <a:schemeClr val="tx1"/>
                </a:solidFill>
                <a:latin typeface="PT Root UI Bold" panose="020B0603020202020204" pitchFamily="34" charset="-52"/>
                <a:ea typeface="PT Root UI Bold" panose="020B0603020202020204" pitchFamily="34" charset="-52"/>
              </a:rPr>
              <a:t>Татарстан</a:t>
            </a:r>
            <a:r>
              <a:rPr lang="ru-RU" sz="1600" dirty="0" smtClean="0">
                <a:solidFill>
                  <a:schemeClr val="tx1"/>
                </a:solidFill>
                <a:latin typeface="PT Root UI Bold" panose="020B0603020202020204" pitchFamily="34" charset="-52"/>
                <a:ea typeface="PT Root UI Bold" panose="020B0603020202020204" pitchFamily="34" charset="-52"/>
              </a:rPr>
              <a:t> </a:t>
            </a:r>
            <a:endParaRPr kumimoji="0" lang="ru-RU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PT Root UI Bold" panose="020B0603020202020204" pitchFamily="34" charset="-52"/>
              <a:ea typeface="PT Root UI Bold" panose="020B0603020202020204" pitchFamily="34" charset="-52"/>
              <a:cs typeface="Segoe UI" panose="020B0502040204020203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9CFAFD6-D9D2-87C9-499D-2BF8234A716A}"/>
              </a:ext>
            </a:extLst>
          </p:cNvPr>
          <p:cNvSpPr txBox="1"/>
          <p:nvPr/>
        </p:nvSpPr>
        <p:spPr>
          <a:xfrm>
            <a:off x="355907" y="118525"/>
            <a:ext cx="849599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2800" b="1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noProof="0" dirty="0" smtClean="0">
                <a:solidFill>
                  <a:srgbClr val="9165E8"/>
                </a:solidFill>
              </a:rPr>
              <a:t>Обновление сервиса «Производственная кооперация и сбыт»</a:t>
            </a:r>
            <a:endParaRPr kumimoji="0" lang="ru-RU" sz="2800" b="1" i="0" u="none" strike="noStrike" kern="1200" cap="none" spc="0" normalizeH="0" baseline="0" noProof="0" dirty="0" smtClean="0">
              <a:ln>
                <a:noFill/>
              </a:ln>
              <a:solidFill>
                <a:srgbClr val="9165E8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42171782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275957" y="124077"/>
            <a:ext cx="8152426" cy="7431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2786">
              <a:lnSpc>
                <a:spcPts val="2500"/>
              </a:lnSpc>
            </a:pPr>
            <a:r>
              <a:rPr lang="ru-RU" sz="2800" b="1" dirty="0" smtClean="0">
                <a:solidFill>
                  <a:srgbClr val="9165E8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Обновление сервиса «Производственная кооперация и сбыт» </a:t>
            </a:r>
            <a:endParaRPr lang="ru-RU" sz="2800" b="1" dirty="0">
              <a:solidFill>
                <a:srgbClr val="9165E8"/>
              </a:solidFill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pic>
        <p:nvPicPr>
          <p:cNvPr id="9" name="Рисунок 61">
            <a:extLst>
              <a:ext uri="{FF2B5EF4-FFF2-40B4-BE49-F238E27FC236}">
                <a16:creationId xmlns:a16="http://schemas.microsoft.com/office/drawing/2014/main" id="{ED2A8417-2BC5-887B-EC92-40F89A41BEF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01479" y="476250"/>
            <a:ext cx="572813" cy="299463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3621" y="548239"/>
            <a:ext cx="1465327" cy="155484"/>
          </a:xfrm>
          <a:prstGeom prst="rect">
            <a:avLst/>
          </a:prstGeom>
        </p:spPr>
      </p:pic>
      <p:sp>
        <p:nvSpPr>
          <p:cNvPr id="11" name="Прямоугольник 10"/>
          <p:cNvSpPr/>
          <p:nvPr/>
        </p:nvSpPr>
        <p:spPr>
          <a:xfrm>
            <a:off x="275957" y="867229"/>
            <a:ext cx="5246244" cy="338554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wrap="none">
            <a:spAutoFit/>
          </a:bodyPr>
          <a:lstStyle/>
          <a:p>
            <a:r>
              <a:rPr lang="ru-RU" sz="1600" dirty="0" smtClean="0">
                <a:latin typeface="PT Root UI Bold" panose="020B0603020202020204" pitchFamily="34" charset="-52"/>
                <a:ea typeface="PT Root UI Bold" panose="020B0603020202020204" pitchFamily="34" charset="-52"/>
                <a:cs typeface="Segoe UI Semibold" panose="020B0702040204020203" pitchFamily="34" charset="0"/>
              </a:rPr>
              <a:t>Карточка товара в Реестре промышленных компаний</a:t>
            </a:r>
            <a:endParaRPr lang="ru-RU" sz="1600" dirty="0">
              <a:latin typeface="PT Root UI Bold" panose="020B0603020202020204" pitchFamily="34" charset="-52"/>
              <a:ea typeface="PT Root UI Bold" panose="020B0603020202020204" pitchFamily="34" charset="-52"/>
              <a:cs typeface="Segoe UI Semibold" panose="020B0702040204020203" pitchFamily="34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5957" y="1205783"/>
            <a:ext cx="4397433" cy="5431289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13" name="Прямоугольник 12"/>
          <p:cNvSpPr/>
          <p:nvPr/>
        </p:nvSpPr>
        <p:spPr>
          <a:xfrm>
            <a:off x="6359805" y="867229"/>
            <a:ext cx="2335768" cy="338554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wrap="none">
            <a:spAutoFit/>
          </a:bodyPr>
          <a:lstStyle/>
          <a:p>
            <a:r>
              <a:rPr lang="ru-RU" sz="1600" b="1" dirty="0" smtClean="0">
                <a:latin typeface="PT Root UI Bold" panose="020B0603020202020204" pitchFamily="34" charset="-52"/>
                <a:ea typeface="PT Root UI Bold" panose="020B0603020202020204" pitchFamily="34" charset="-52"/>
                <a:cs typeface="Segoe UI Semibold" panose="020B0702040204020203" pitchFamily="34" charset="0"/>
              </a:rPr>
              <a:t>Онбординг-подсказки </a:t>
            </a:r>
            <a:endParaRPr lang="ru-RU" sz="1600" b="1" dirty="0">
              <a:latin typeface="PT Root UI Bold" panose="020B0603020202020204" pitchFamily="34" charset="-52"/>
              <a:ea typeface="PT Root UI Bold" panose="020B0603020202020204" pitchFamily="34" charset="-52"/>
              <a:cs typeface="Segoe UI Semibold" panose="020B0702040204020203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8889" y="1214304"/>
            <a:ext cx="5460059" cy="2705408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8889" y="4012008"/>
            <a:ext cx="5460059" cy="27300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75831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88" name="Слайд think-cell" r:id="rId5" imgW="347" imgH="348" progId="TCLayout.ActiveDocument.1">
                  <p:embed/>
                </p:oleObj>
              </mc:Choice>
              <mc:Fallback>
                <p:oleObj name="Слайд think-cell" r:id="rId5" imgW="347" imgH="348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Прямоугольник 11"/>
          <p:cNvSpPr/>
          <p:nvPr/>
        </p:nvSpPr>
        <p:spPr>
          <a:xfrm>
            <a:off x="355907" y="332615"/>
            <a:ext cx="9348810" cy="4616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ts val="3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3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9CFAFD6-D9D2-87C9-499D-2BF8234A716A}"/>
              </a:ext>
            </a:extLst>
          </p:cNvPr>
          <p:cNvSpPr txBox="1"/>
          <p:nvPr/>
        </p:nvSpPr>
        <p:spPr>
          <a:xfrm>
            <a:off x="355907" y="150324"/>
            <a:ext cx="877815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2800" b="1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defRPr>
            </a:lvl1pPr>
          </a:lstStyle>
          <a:p>
            <a:pPr lvl="0">
              <a:defRPr/>
            </a:pPr>
            <a:r>
              <a:rPr lang="ru-RU" dirty="0" smtClean="0">
                <a:solidFill>
                  <a:prstClr val="black"/>
                </a:solidFill>
              </a:rPr>
              <a:t>Кейсы кооперационного взаимодействия субъектов МСП </a:t>
            </a:r>
            <a:r>
              <a:rPr lang="ru-RU" dirty="0">
                <a:solidFill>
                  <a:prstClr val="black"/>
                </a:solidFill>
              </a:rPr>
              <a:t>Республики </a:t>
            </a:r>
            <a:r>
              <a:rPr lang="ru-RU" dirty="0" smtClean="0">
                <a:solidFill>
                  <a:prstClr val="black"/>
                </a:solidFill>
              </a:rPr>
              <a:t>Татарстан</a:t>
            </a:r>
            <a:endParaRPr kumimoji="0" lang="ru-RU" sz="2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18" name="Rounded Rectangle 8">
            <a:extLst>
              <a:ext uri="{FF2B5EF4-FFF2-40B4-BE49-F238E27FC236}">
                <a16:creationId xmlns:a16="http://schemas.microsoft.com/office/drawing/2014/main" id="{16EF1956-6A2B-C71F-C239-97AB0FAD5F7F}"/>
              </a:ext>
            </a:extLst>
          </p:cNvPr>
          <p:cNvSpPr/>
          <p:nvPr/>
        </p:nvSpPr>
        <p:spPr>
          <a:xfrm>
            <a:off x="326915" y="4945438"/>
            <a:ext cx="5005012" cy="1353006"/>
          </a:xfrm>
          <a:prstGeom prst="roundRect">
            <a:avLst>
              <a:gd name="adj" fmla="val 8591"/>
            </a:avLst>
          </a:prstGeom>
          <a:noFill/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 smtClean="0">
                <a:solidFill>
                  <a:srgbClr val="866FF2"/>
                </a:solidFill>
                <a:latin typeface="PT Root UI Bold" panose="020B0603020202020204" pitchFamily="34" charset="-52"/>
                <a:ea typeface="PT Root UI Bold" panose="020B0603020202020204" pitchFamily="34" charset="-52"/>
              </a:rPr>
              <a:t>АО «Полиматиз»</a:t>
            </a:r>
            <a:r>
              <a:rPr lang="ru-RU" dirty="0" smtClean="0">
                <a:solidFill>
                  <a:schemeClr val="tx1"/>
                </a:solidFill>
                <a:latin typeface="PT Root UI" panose="020B0303020202020204" pitchFamily="34" charset="-52"/>
                <a:ea typeface="PT Root UI" panose="020B0303020202020204" pitchFamily="34" charset="-52"/>
              </a:rPr>
              <a:t> заключило договор поставки гидрофильного спандбонда с       </a:t>
            </a:r>
            <a:r>
              <a:rPr lang="ru-RU" b="1" dirty="0" smtClean="0">
                <a:solidFill>
                  <a:srgbClr val="8670F2"/>
                </a:solidFill>
                <a:latin typeface="PT Root UI Bold" panose="020B0603020202020204" pitchFamily="34" charset="-52"/>
                <a:ea typeface="PT Root UI Bold" panose="020B0603020202020204" pitchFamily="34" charset="-52"/>
              </a:rPr>
              <a:t>АО «Гигиена» </a:t>
            </a:r>
            <a:r>
              <a:rPr lang="ru-RU" dirty="0" smtClean="0">
                <a:solidFill>
                  <a:schemeClr val="tx1"/>
                </a:solidFill>
                <a:latin typeface="PT Root UI" panose="020B0303020202020204" pitchFamily="34" charset="-52"/>
                <a:ea typeface="PT Root UI" panose="020B0303020202020204" pitchFamily="34" charset="-52"/>
              </a:rPr>
              <a:t>из Ставропольского края</a:t>
            </a:r>
            <a:endParaRPr kumimoji="0" lang="ru-RU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PT Root UI" panose="020B0303020202020204" pitchFamily="34" charset="-52"/>
              <a:ea typeface="PT Root UI" panose="020B0303020202020204" pitchFamily="34" charset="-52"/>
              <a:cs typeface="Segoe UI" panose="020B0502040204020203" pitchFamily="34" charset="0"/>
            </a:endParaRP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3621" y="548239"/>
            <a:ext cx="1465327" cy="155484"/>
          </a:xfrm>
          <a:prstGeom prst="rect">
            <a:avLst/>
          </a:prstGeom>
        </p:spPr>
      </p:pic>
      <p:pic>
        <p:nvPicPr>
          <p:cNvPr id="16" name="Рисунок 61">
            <a:extLst>
              <a:ext uri="{FF2B5EF4-FFF2-40B4-BE49-F238E27FC236}">
                <a16:creationId xmlns:a16="http://schemas.microsoft.com/office/drawing/2014/main" id="{ED2A8417-2BC5-887B-EC92-40F89A41BEFB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01479" y="476250"/>
            <a:ext cx="572813" cy="299463"/>
          </a:xfrm>
          <a:prstGeom prst="rect">
            <a:avLst/>
          </a:prstGeom>
        </p:spPr>
      </p:pic>
      <p:sp>
        <p:nvSpPr>
          <p:cNvPr id="17" name="Rounded Rectangle 8">
            <a:extLst>
              <a:ext uri="{FF2B5EF4-FFF2-40B4-BE49-F238E27FC236}">
                <a16:creationId xmlns:a16="http://schemas.microsoft.com/office/drawing/2014/main" id="{16EF1956-6A2B-C71F-C239-97AB0FAD5F7F}"/>
              </a:ext>
            </a:extLst>
          </p:cNvPr>
          <p:cNvSpPr/>
          <p:nvPr/>
        </p:nvSpPr>
        <p:spPr>
          <a:xfrm>
            <a:off x="326916" y="2057996"/>
            <a:ext cx="5005011" cy="1783178"/>
          </a:xfrm>
          <a:prstGeom prst="roundRect">
            <a:avLst>
              <a:gd name="adj" fmla="val 8591"/>
            </a:avLst>
          </a:prstGeom>
          <a:noFill/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 smtClean="0">
                <a:solidFill>
                  <a:srgbClr val="866FF2"/>
                </a:solidFill>
                <a:latin typeface="PT Root UI Bold" panose="020B0603020202020204" pitchFamily="34" charset="-52"/>
                <a:ea typeface="PT Root UI Bold" panose="020B0603020202020204" pitchFamily="34" charset="-52"/>
              </a:rPr>
              <a:t>ООО «Лениногорский механический завод», </a:t>
            </a:r>
            <a:r>
              <a:rPr lang="ru-RU" dirty="0" smtClean="0">
                <a:solidFill>
                  <a:schemeClr val="tx1"/>
                </a:solidFill>
                <a:latin typeface="PT Root UI" panose="020B0303020202020204" pitchFamily="34" charset="-52"/>
                <a:ea typeface="PT Root UI" panose="020B0303020202020204" pitchFamily="34" charset="-52"/>
              </a:rPr>
              <a:t>производитель автокомплектующих, при </a:t>
            </a:r>
            <a:r>
              <a:rPr lang="ru-RU" dirty="0">
                <a:solidFill>
                  <a:schemeClr val="tx1"/>
                </a:solidFill>
                <a:latin typeface="PT Root UI" panose="020B0303020202020204" pitchFamily="34" charset="-52"/>
                <a:ea typeface="PT Root UI" panose="020B0303020202020204" pitchFamily="34" charset="-52"/>
              </a:rPr>
              <a:t>поддержке Корпорации МСП</a:t>
            </a:r>
            <a:r>
              <a:rPr lang="ru-RU" dirty="0" smtClean="0">
                <a:solidFill>
                  <a:schemeClr val="tx1"/>
                </a:solidFill>
                <a:latin typeface="PT Root UI" panose="020B0303020202020204" pitchFamily="34" charset="-52"/>
                <a:ea typeface="PT Root UI" panose="020B0303020202020204" pitchFamily="34" charset="-52"/>
              </a:rPr>
              <a:t> договорился о поставке партии опытных образцов в       </a:t>
            </a:r>
            <a:r>
              <a:rPr lang="ru-RU" dirty="0" smtClean="0">
                <a:solidFill>
                  <a:srgbClr val="866FF2"/>
                </a:solidFill>
                <a:latin typeface="PT Root UI Bold" panose="020B0603020202020204" pitchFamily="34" charset="-52"/>
                <a:ea typeface="PT Root UI Bold" panose="020B0603020202020204" pitchFamily="34" charset="-52"/>
              </a:rPr>
              <a:t>ОАО «МТЗ» (Республика Беларусь)</a:t>
            </a:r>
            <a:endParaRPr kumimoji="0" lang="ru-RU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PT Root UI" panose="020B0303020202020204" pitchFamily="34" charset="-52"/>
              <a:ea typeface="PT Root UI" panose="020B0303020202020204" pitchFamily="34" charset="-52"/>
              <a:cs typeface="Segoe UI" panose="020B0502040204020203" pitchFamily="34" charset="0"/>
            </a:endParaRPr>
          </a:p>
        </p:txBody>
      </p:sp>
      <p:sp>
        <p:nvSpPr>
          <p:cNvPr id="20" name="Rounded Rectangle 8">
            <a:extLst>
              <a:ext uri="{FF2B5EF4-FFF2-40B4-BE49-F238E27FC236}">
                <a16:creationId xmlns:a16="http://schemas.microsoft.com/office/drawing/2014/main" id="{16EF1956-6A2B-C71F-C239-97AB0FAD5F7F}"/>
              </a:ext>
            </a:extLst>
          </p:cNvPr>
          <p:cNvSpPr/>
          <p:nvPr/>
        </p:nvSpPr>
        <p:spPr>
          <a:xfrm>
            <a:off x="6331452" y="2049149"/>
            <a:ext cx="5242840" cy="1720918"/>
          </a:xfrm>
          <a:prstGeom prst="roundRect">
            <a:avLst>
              <a:gd name="adj" fmla="val 8591"/>
            </a:avLst>
          </a:prstGeom>
          <a:noFill/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 smtClean="0">
                <a:solidFill>
                  <a:srgbClr val="866FF2"/>
                </a:solidFill>
                <a:latin typeface="PT Root UI Bold" panose="020B0603020202020204" pitchFamily="34" charset="-52"/>
                <a:ea typeface="PT Root UI Bold" panose="020B0603020202020204" pitchFamily="34" charset="-52"/>
              </a:rPr>
              <a:t>ООО «Обувная компания БАРС» </a:t>
            </a:r>
            <a:r>
              <a:rPr lang="ru-RU" dirty="0" smtClean="0">
                <a:solidFill>
                  <a:schemeClr val="tx1"/>
                </a:solidFill>
                <a:latin typeface="PT Root UI" panose="020B0303020202020204" pitchFamily="34" charset="-52"/>
                <a:ea typeface="PT Root UI" panose="020B0303020202020204" pitchFamily="34" charset="-52"/>
              </a:rPr>
              <a:t>заключило </a:t>
            </a:r>
            <a:r>
              <a:rPr lang="ru-RU" dirty="0">
                <a:solidFill>
                  <a:schemeClr val="tx1"/>
                </a:solidFill>
                <a:latin typeface="PT Root UI" panose="020B0303020202020204" pitchFamily="34" charset="-52"/>
                <a:ea typeface="PT Root UI" panose="020B0303020202020204" pitchFamily="34" charset="-52"/>
              </a:rPr>
              <a:t>договор с ф</a:t>
            </a:r>
            <a:r>
              <a:rPr lang="ru-RU" dirty="0" smtClean="0">
                <a:solidFill>
                  <a:schemeClr val="tx1"/>
                </a:solidFill>
                <a:latin typeface="PT Root UI" panose="020B0303020202020204" pitchFamily="34" charset="-52"/>
                <a:ea typeface="PT Root UI" panose="020B0303020202020204" pitchFamily="34" charset="-52"/>
              </a:rPr>
              <a:t>илиалом </a:t>
            </a:r>
            <a:r>
              <a:rPr lang="ru-RU" dirty="0">
                <a:solidFill>
                  <a:srgbClr val="866FF2"/>
                </a:solidFill>
                <a:latin typeface="PT Root UI Bold" panose="020B0603020202020204" pitchFamily="34" charset="-52"/>
                <a:ea typeface="PT Root UI Bold" panose="020B0603020202020204" pitchFamily="34" charset="-52"/>
              </a:rPr>
              <a:t>АО "КМПО" - </a:t>
            </a:r>
            <a:r>
              <a:rPr lang="ru-RU" dirty="0" smtClean="0">
                <a:solidFill>
                  <a:srgbClr val="866FF2"/>
                </a:solidFill>
                <a:latin typeface="PT Root UI Bold" panose="020B0603020202020204" pitchFamily="34" charset="-52"/>
                <a:ea typeface="PT Root UI Bold" panose="020B0603020202020204" pitchFamily="34" charset="-52"/>
              </a:rPr>
              <a:t>Зеленодольским машиностроительным заводом - на поставку спецобуви</a:t>
            </a:r>
            <a:endParaRPr kumimoji="0" lang="ru-RU" b="1" i="0" u="none" strike="noStrike" kern="1200" cap="none" spc="0" normalizeH="0" baseline="0" noProof="0" dirty="0" smtClean="0">
              <a:ln>
                <a:noFill/>
              </a:ln>
              <a:solidFill>
                <a:srgbClr val="866FF2"/>
              </a:solidFill>
              <a:effectLst/>
              <a:uLnTx/>
              <a:uFillTx/>
              <a:latin typeface="PT Root UI Bold" panose="020B0603020202020204" pitchFamily="34" charset="-52"/>
              <a:ea typeface="PT Root UI Bold" panose="020B0603020202020204" pitchFamily="34" charset="-52"/>
              <a:cs typeface="Segoe UI" panose="020B0502040204020203" pitchFamily="34" charset="0"/>
            </a:endParaRPr>
          </a:p>
        </p:txBody>
      </p:sp>
      <p:sp>
        <p:nvSpPr>
          <p:cNvPr id="22" name="Rounded Rectangle 8">
            <a:extLst>
              <a:ext uri="{FF2B5EF4-FFF2-40B4-BE49-F238E27FC236}">
                <a16:creationId xmlns:a16="http://schemas.microsoft.com/office/drawing/2014/main" id="{16EF1956-6A2B-C71F-C239-97AB0FAD5F7F}"/>
              </a:ext>
            </a:extLst>
          </p:cNvPr>
          <p:cNvSpPr/>
          <p:nvPr/>
        </p:nvSpPr>
        <p:spPr>
          <a:xfrm>
            <a:off x="6331453" y="4946772"/>
            <a:ext cx="5242839" cy="1313825"/>
          </a:xfrm>
          <a:prstGeom prst="roundRect">
            <a:avLst>
              <a:gd name="adj" fmla="val 8591"/>
            </a:avLst>
          </a:prstGeom>
          <a:noFill/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 smtClean="0">
                <a:solidFill>
                  <a:srgbClr val="866FF2"/>
                </a:solidFill>
                <a:latin typeface="PT Root UI Bold" panose="020B0603020202020204" pitchFamily="34" charset="-52"/>
                <a:ea typeface="PT Root UI Bold" panose="020B0603020202020204" pitchFamily="34" charset="-52"/>
              </a:rPr>
              <a:t>ООО «Завод полимерных материалов «БАКЕЛИТ» </a:t>
            </a:r>
            <a:r>
              <a:rPr lang="ru-RU" dirty="0" smtClean="0">
                <a:solidFill>
                  <a:schemeClr val="tx1"/>
                </a:solidFill>
                <a:latin typeface="PT Root UI" panose="020B0303020202020204" pitchFamily="34" charset="-52"/>
                <a:ea typeface="PT Root UI" panose="020B0303020202020204" pitchFamily="34" charset="-52"/>
              </a:rPr>
              <a:t>заключило </a:t>
            </a:r>
            <a:r>
              <a:rPr lang="ru-RU" dirty="0">
                <a:solidFill>
                  <a:schemeClr val="tx1"/>
                </a:solidFill>
                <a:latin typeface="PT Root UI" panose="020B0303020202020204" pitchFamily="34" charset="-52"/>
                <a:ea typeface="PT Root UI" panose="020B0303020202020204" pitchFamily="34" charset="-52"/>
              </a:rPr>
              <a:t>договор </a:t>
            </a:r>
            <a:r>
              <a:rPr lang="ru-RU" dirty="0" smtClean="0">
                <a:solidFill>
                  <a:schemeClr val="tx1"/>
                </a:solidFill>
                <a:latin typeface="PT Root UI" panose="020B0303020202020204" pitchFamily="34" charset="-52"/>
                <a:ea typeface="PT Root UI" panose="020B0303020202020204" pitchFamily="34" charset="-52"/>
              </a:rPr>
              <a:t>на поставку изопола, уплотнительных шнуров и др. с </a:t>
            </a:r>
            <a:r>
              <a:rPr lang="ru-RU" dirty="0" smtClean="0">
                <a:solidFill>
                  <a:srgbClr val="866FF2"/>
                </a:solidFill>
                <a:latin typeface="PT Root UI Bold" panose="020B0603020202020204" pitchFamily="34" charset="-52"/>
                <a:ea typeface="PT Root UI Bold" panose="020B0603020202020204" pitchFamily="34" charset="-52"/>
              </a:rPr>
              <a:t>онлайн-гипермаркетом «Всеинструменты.ру</a:t>
            </a:r>
            <a:endParaRPr kumimoji="0" lang="ru-RU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PT Root UI" panose="020B0303020202020204" pitchFamily="34" charset="-52"/>
              <a:ea typeface="PT Root UI" panose="020B0303020202020204" pitchFamily="34" charset="-52"/>
              <a:cs typeface="Segoe UI" panose="020B0502040204020203" pitchFamily="34" charset="0"/>
            </a:endParaRPr>
          </a:p>
        </p:txBody>
      </p:sp>
      <p:pic>
        <p:nvPicPr>
          <p:cNvPr id="49209" name="Picture 57" descr="Picture background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264" y="1051906"/>
            <a:ext cx="1006090" cy="10060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211" name="Picture 59" descr="Picture background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74229" y="1183924"/>
            <a:ext cx="1538174" cy="8652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213" name="Picture 61" descr="Picture background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165" y="3971505"/>
            <a:ext cx="1076509" cy="8872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431661" y="4082017"/>
            <a:ext cx="1623309" cy="662804"/>
          </a:xfrm>
          <a:prstGeom prst="rect">
            <a:avLst/>
          </a:prstGeom>
        </p:spPr>
      </p:pic>
      <p:pic>
        <p:nvPicPr>
          <p:cNvPr id="49216" name="Picture 64" descr="Picture background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31452" y="1271657"/>
            <a:ext cx="1431009" cy="6397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218" name="Picture 66" descr="Picture background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24595" y="1336338"/>
            <a:ext cx="2021095" cy="5603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222" name="Picture 70" descr="Фото №1 на стенде ООО «Завод полимерных материалов «БАКЕЛИТ», г.Нижнекамск. 430236 картинка из каталога «Производство России».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31453" y="4135328"/>
            <a:ext cx="2121203" cy="6442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224" name="Picture 72" descr="Picture background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78834" y="4164496"/>
            <a:ext cx="1641234" cy="6942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086145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77" name="Слайд think-cell" r:id="rId5" imgW="347" imgH="348" progId="TCLayout.ActiveDocument.1">
                  <p:embed/>
                </p:oleObj>
              </mc:Choice>
              <mc:Fallback>
                <p:oleObj name="Слайд think-cell" r:id="rId5" imgW="347" imgH="348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Прямоугольник 32"/>
          <p:cNvSpPr/>
          <p:nvPr/>
        </p:nvSpPr>
        <p:spPr>
          <a:xfrm>
            <a:off x="408307" y="310514"/>
            <a:ext cx="1035569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Как воспользоваться сервисом «Производственная кооперация и сбыт»? </a:t>
            </a:r>
            <a:endParaRPr lang="ru-RU" sz="2800" b="1" dirty="0"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382500" y="1508885"/>
            <a:ext cx="5810736" cy="7431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2786">
              <a:lnSpc>
                <a:spcPts val="2500"/>
              </a:lnSpc>
            </a:pPr>
            <a:r>
              <a:rPr lang="ru-RU" sz="2800" b="1" dirty="0">
                <a:solidFill>
                  <a:srgbClr val="9165E8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Откликнуться на потребности крупных производителей: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938764" y="2707668"/>
            <a:ext cx="4698209" cy="258532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PT Root UI Bold" panose="020B0603020202020204" pitchFamily="34" charset="-52"/>
                <a:ea typeface="PT Root UI Bold" panose="020B0603020202020204" pitchFamily="34" charset="-52"/>
                <a:cs typeface="Segoe UI" panose="020B0502040204020203" pitchFamily="34" charset="0"/>
              </a:rPr>
              <a:t>Зайти на МСП.РФ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rgbClr val="191919"/>
              </a:solidFill>
              <a:effectLst/>
              <a:uLnTx/>
              <a:uFillTx/>
              <a:latin typeface="PT Root UI Bold" panose="020B0603020202020204" pitchFamily="34" charset="-52"/>
              <a:ea typeface="PT Root UI Bold" panose="020B0603020202020204" pitchFamily="34" charset="-52"/>
              <a:cs typeface="Segoe UI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PT Root UI Bold" panose="020B0603020202020204" pitchFamily="34" charset="-52"/>
                <a:ea typeface="PT Root UI Bold" panose="020B0603020202020204" pitchFamily="34" charset="-52"/>
                <a:cs typeface="Segoe UI" panose="020B0502040204020203" pitchFamily="34" charset="0"/>
              </a:rPr>
              <a:t>Авторизоваться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PT Root UI Bold" panose="020B0603020202020204" pitchFamily="34" charset="-52"/>
                <a:ea typeface="PT Root UI Bold" panose="020B0603020202020204" pitchFamily="34" charset="-52"/>
                <a:cs typeface="Segoe UI" panose="020B0502040204020203" pitchFamily="34" charset="0"/>
              </a:rPr>
              <a:t>с помощью учетной записи на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PT Root UI Bold" panose="020B0603020202020204" pitchFamily="34" charset="-52"/>
                <a:ea typeface="PT Root UI Bold" panose="020B0603020202020204" pitchFamily="34" charset="-52"/>
                <a:cs typeface="Segoe UI" panose="020B0502040204020203" pitchFamily="34" charset="0"/>
              </a:rPr>
              <a:t>Госуслугах с «привязанным» бизнесом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rgbClr val="191919"/>
              </a:solidFill>
              <a:effectLst/>
              <a:uLnTx/>
              <a:uFillTx/>
              <a:latin typeface="PT Root UI Bold" panose="020B0603020202020204" pitchFamily="34" charset="-52"/>
              <a:ea typeface="PT Root UI Bold" panose="020B0603020202020204" pitchFamily="34" charset="-52"/>
              <a:cs typeface="Segoe UI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PT Root UI Bold" panose="020B0603020202020204" pitchFamily="34" charset="-52"/>
                <a:ea typeface="PT Root UI Bold" panose="020B0603020202020204" pitchFamily="34" charset="-52"/>
                <a:cs typeface="Segoe UI" panose="020B0502040204020203" pitchFamily="34" charset="0"/>
              </a:rPr>
              <a:t>В меню «Сервисы» выбрать «Производственная кооперация и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PT Root UI Bold" panose="020B0603020202020204" pitchFamily="34" charset="-52"/>
                <a:ea typeface="PT Root UI Bold" panose="020B0603020202020204" pitchFamily="34" charset="-52"/>
                <a:cs typeface="Segoe UI" panose="020B0502040204020203" pitchFamily="34" charset="0"/>
              </a:rPr>
              <a:t>сбыт» и найти подходящую потребность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PT Root UI Bold" panose="020B0603020202020204" pitchFamily="34" charset="-52"/>
                <a:ea typeface="PT Root UI Bold" panose="020B0603020202020204" pitchFamily="34" charset="-52"/>
                <a:cs typeface="Segoe UI" panose="020B0502040204020203" pitchFamily="34" charset="0"/>
              </a:rPr>
              <a:t>по наименованию товара, коду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PT Root UI Bold" panose="020B0603020202020204" pitchFamily="34" charset="-52"/>
                <a:ea typeface="PT Root UI Bold" panose="020B0603020202020204" pitchFamily="34" charset="-52"/>
                <a:cs typeface="Segoe UI" panose="020B0502040204020203" pitchFamily="34" charset="0"/>
              </a:rPr>
              <a:t>ОКПД2 или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PT Root UI Bold" panose="020B0603020202020204" pitchFamily="34" charset="-52"/>
                <a:ea typeface="PT Root UI Bold" panose="020B0603020202020204" pitchFamily="34" charset="-52"/>
                <a:cs typeface="Segoe UI" panose="020B0502040204020203" pitchFamily="34" charset="0"/>
              </a:rPr>
              <a:t>региону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PT Root UI Bold" panose="020B0603020202020204" pitchFamily="34" charset="-52"/>
                <a:ea typeface="PT Root UI Bold" panose="020B0603020202020204" pitchFamily="34" charset="-52"/>
                <a:cs typeface="Segoe UI" panose="020B0502040204020203" pitchFamily="34" charset="0"/>
              </a:rPr>
              <a:t>поставки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191919"/>
              </a:solidFill>
              <a:effectLst/>
              <a:uLnTx/>
              <a:uFillTx/>
              <a:latin typeface="PT Root UI Bold" panose="020B0603020202020204" pitchFamily="34" charset="-52"/>
              <a:ea typeface="PT Root UI Bold" panose="020B0603020202020204" pitchFamily="34" charset="-52"/>
              <a:cs typeface="Segoe UI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PT Root UI Bold" panose="020B0603020202020204" pitchFamily="34" charset="-52"/>
                <a:ea typeface="PT Root UI Bold" panose="020B0603020202020204" pitchFamily="34" charset="-52"/>
                <a:cs typeface="Segoe UI" panose="020B0502040204020203" pitchFamily="34" charset="0"/>
              </a:rPr>
              <a:t>Откликнуться на интересующий запрос и заполнить анкету поставщика</a:t>
            </a:r>
          </a:p>
        </p:txBody>
      </p:sp>
      <p:grpSp>
        <p:nvGrpSpPr>
          <p:cNvPr id="40" name="Группа 39"/>
          <p:cNvGrpSpPr/>
          <p:nvPr/>
        </p:nvGrpSpPr>
        <p:grpSpPr>
          <a:xfrm>
            <a:off x="408307" y="2667633"/>
            <a:ext cx="383023" cy="383023"/>
            <a:chOff x="2301447" y="2329448"/>
            <a:chExt cx="383023" cy="383023"/>
          </a:xfrm>
        </p:grpSpPr>
        <p:sp>
          <p:nvSpPr>
            <p:cNvPr id="41" name="Овал 40"/>
            <p:cNvSpPr/>
            <p:nvPr/>
          </p:nvSpPr>
          <p:spPr>
            <a:xfrm>
              <a:off x="2301447" y="2329448"/>
              <a:ext cx="383023" cy="383023"/>
            </a:xfrm>
            <a:prstGeom prst="ellipse">
              <a:avLst/>
            </a:prstGeom>
            <a:solidFill>
              <a:srgbClr val="84E0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Root UI Bold" panose="020B0603020202020204" pitchFamily="34" charset="-52"/>
                <a:ea typeface="PT Root UI Bold" panose="020B0603020202020204" pitchFamily="34" charset="-52"/>
              </a:endParaRPr>
            </a:p>
          </p:txBody>
        </p:sp>
        <p:sp>
          <p:nvSpPr>
            <p:cNvPr id="42" name="Прямоугольник 41"/>
            <p:cNvSpPr/>
            <p:nvPr/>
          </p:nvSpPr>
          <p:spPr>
            <a:xfrm>
              <a:off x="2301447" y="2371208"/>
              <a:ext cx="344324" cy="276999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-10" normalizeH="0" baseline="0" noProof="0" dirty="0" smtClean="0">
                  <a:ln>
                    <a:noFill/>
                  </a:ln>
                  <a:solidFill>
                    <a:srgbClr val="191919"/>
                  </a:solidFill>
                  <a:effectLst/>
                  <a:uLnTx/>
                  <a:uFillTx/>
                  <a:latin typeface="PT Root UI Bold" panose="020B0603020202020204" pitchFamily="34" charset="-52"/>
                  <a:ea typeface="PT Root UI Bold" panose="020B0603020202020204" pitchFamily="34" charset="-52"/>
                  <a:cs typeface="Segoe UI Semibold" panose="020B0702040204020203" pitchFamily="34" charset="0"/>
                </a:rPr>
                <a:t>1</a:t>
              </a:r>
              <a:endParaRPr kumimoji="0" lang="ru-RU" sz="1800" b="0" i="0" u="none" strike="noStrike" kern="1200" cap="none" spc="-1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PT Root UI Bold" panose="020B0603020202020204" pitchFamily="34" charset="-52"/>
                <a:ea typeface="PT Root UI Bold" panose="020B0603020202020204" pitchFamily="34" charset="-52"/>
                <a:cs typeface="Segoe UI Semibold" panose="020B0702040204020203" pitchFamily="34" charset="0"/>
              </a:endParaRPr>
            </a:p>
          </p:txBody>
        </p:sp>
      </p:grpSp>
      <p:grpSp>
        <p:nvGrpSpPr>
          <p:cNvPr id="43" name="Группа 42"/>
          <p:cNvGrpSpPr/>
          <p:nvPr/>
        </p:nvGrpSpPr>
        <p:grpSpPr>
          <a:xfrm>
            <a:off x="408307" y="4021799"/>
            <a:ext cx="383023" cy="383023"/>
            <a:chOff x="2301447" y="2329448"/>
            <a:chExt cx="383023" cy="383023"/>
          </a:xfrm>
        </p:grpSpPr>
        <p:sp>
          <p:nvSpPr>
            <p:cNvPr id="44" name="Овал 43"/>
            <p:cNvSpPr/>
            <p:nvPr/>
          </p:nvSpPr>
          <p:spPr>
            <a:xfrm>
              <a:off x="2301447" y="2329448"/>
              <a:ext cx="383023" cy="383023"/>
            </a:xfrm>
            <a:prstGeom prst="ellipse">
              <a:avLst/>
            </a:prstGeom>
            <a:solidFill>
              <a:srgbClr val="84E0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Root UI Bold" panose="020B0603020202020204" pitchFamily="34" charset="-52"/>
                <a:ea typeface="PT Root UI Bold" panose="020B0603020202020204" pitchFamily="34" charset="-52"/>
              </a:endParaRPr>
            </a:p>
          </p:txBody>
        </p:sp>
        <p:sp>
          <p:nvSpPr>
            <p:cNvPr id="45" name="Прямоугольник 44"/>
            <p:cNvSpPr/>
            <p:nvPr/>
          </p:nvSpPr>
          <p:spPr>
            <a:xfrm>
              <a:off x="2301447" y="2371208"/>
              <a:ext cx="344324" cy="276999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-10" normalizeH="0" baseline="0" noProof="0" dirty="0" smtClean="0">
                  <a:ln>
                    <a:noFill/>
                  </a:ln>
                  <a:solidFill>
                    <a:srgbClr val="191919"/>
                  </a:solidFill>
                  <a:effectLst/>
                  <a:uLnTx/>
                  <a:uFillTx/>
                  <a:latin typeface="PT Root UI Bold" panose="020B0603020202020204" pitchFamily="34" charset="-52"/>
                  <a:ea typeface="PT Root UI Bold" panose="020B0603020202020204" pitchFamily="34" charset="-52"/>
                  <a:cs typeface="Segoe UI Semibold" panose="020B0702040204020203" pitchFamily="34" charset="0"/>
                </a:rPr>
                <a:t>3</a:t>
              </a:r>
              <a:endParaRPr kumimoji="0" lang="ru-RU" sz="1800" b="0" i="0" u="none" strike="noStrike" kern="1200" cap="none" spc="-1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PT Root UI Bold" panose="020B0603020202020204" pitchFamily="34" charset="-52"/>
                <a:ea typeface="PT Root UI Bold" panose="020B0603020202020204" pitchFamily="34" charset="-52"/>
                <a:cs typeface="Segoe UI Semibold" panose="020B0702040204020203" pitchFamily="34" charset="0"/>
              </a:endParaRPr>
            </a:p>
          </p:txBody>
        </p:sp>
      </p:grpSp>
      <p:grpSp>
        <p:nvGrpSpPr>
          <p:cNvPr id="46" name="Группа 45"/>
          <p:cNvGrpSpPr/>
          <p:nvPr/>
        </p:nvGrpSpPr>
        <p:grpSpPr>
          <a:xfrm>
            <a:off x="408307" y="3163355"/>
            <a:ext cx="383023" cy="383023"/>
            <a:chOff x="2301447" y="2329448"/>
            <a:chExt cx="383023" cy="383023"/>
          </a:xfrm>
        </p:grpSpPr>
        <p:sp>
          <p:nvSpPr>
            <p:cNvPr id="47" name="Овал 46"/>
            <p:cNvSpPr/>
            <p:nvPr/>
          </p:nvSpPr>
          <p:spPr>
            <a:xfrm>
              <a:off x="2301447" y="2329448"/>
              <a:ext cx="383023" cy="383023"/>
            </a:xfrm>
            <a:prstGeom prst="ellipse">
              <a:avLst/>
            </a:prstGeom>
            <a:solidFill>
              <a:srgbClr val="84E0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Root UI Bold" panose="020B0603020202020204" pitchFamily="34" charset="-52"/>
                <a:ea typeface="PT Root UI Bold" panose="020B0603020202020204" pitchFamily="34" charset="-52"/>
              </a:endParaRPr>
            </a:p>
          </p:txBody>
        </p:sp>
        <p:sp>
          <p:nvSpPr>
            <p:cNvPr id="48" name="Прямоугольник 47"/>
            <p:cNvSpPr/>
            <p:nvPr/>
          </p:nvSpPr>
          <p:spPr>
            <a:xfrm>
              <a:off x="2301447" y="2371208"/>
              <a:ext cx="344324" cy="276999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-10" normalizeH="0" baseline="0" noProof="0" dirty="0">
                  <a:ln>
                    <a:noFill/>
                  </a:ln>
                  <a:solidFill>
                    <a:srgbClr val="191919"/>
                  </a:solidFill>
                  <a:effectLst/>
                  <a:uLnTx/>
                  <a:uFillTx/>
                  <a:latin typeface="PT Root UI Bold" panose="020B0603020202020204" pitchFamily="34" charset="-52"/>
                  <a:ea typeface="PT Root UI Bold" panose="020B0603020202020204" pitchFamily="34" charset="-52"/>
                  <a:cs typeface="Segoe UI Semibold" panose="020B0702040204020203" pitchFamily="34" charset="0"/>
                </a:rPr>
                <a:t>2</a:t>
              </a:r>
            </a:p>
          </p:txBody>
        </p:sp>
      </p:grpSp>
      <p:grpSp>
        <p:nvGrpSpPr>
          <p:cNvPr id="49" name="Группа 48"/>
          <p:cNvGrpSpPr/>
          <p:nvPr/>
        </p:nvGrpSpPr>
        <p:grpSpPr>
          <a:xfrm>
            <a:off x="408307" y="4853548"/>
            <a:ext cx="383023" cy="383023"/>
            <a:chOff x="2301447" y="2329448"/>
            <a:chExt cx="383023" cy="383023"/>
          </a:xfrm>
        </p:grpSpPr>
        <p:sp>
          <p:nvSpPr>
            <p:cNvPr id="51" name="Овал 50"/>
            <p:cNvSpPr/>
            <p:nvPr/>
          </p:nvSpPr>
          <p:spPr>
            <a:xfrm>
              <a:off x="2301447" y="2329448"/>
              <a:ext cx="383023" cy="383023"/>
            </a:xfrm>
            <a:prstGeom prst="ellipse">
              <a:avLst/>
            </a:prstGeom>
            <a:solidFill>
              <a:srgbClr val="84E0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Root UI Bold" panose="020B0603020202020204" pitchFamily="34" charset="-52"/>
                <a:ea typeface="PT Root UI Bold" panose="020B0603020202020204" pitchFamily="34" charset="-52"/>
              </a:endParaRPr>
            </a:p>
          </p:txBody>
        </p:sp>
        <p:sp>
          <p:nvSpPr>
            <p:cNvPr id="53" name="Прямоугольник 52"/>
            <p:cNvSpPr/>
            <p:nvPr/>
          </p:nvSpPr>
          <p:spPr>
            <a:xfrm>
              <a:off x="2301447" y="2371208"/>
              <a:ext cx="344324" cy="276999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-10" normalizeH="0" baseline="0" noProof="0" dirty="0" smtClean="0">
                  <a:ln>
                    <a:noFill/>
                  </a:ln>
                  <a:solidFill>
                    <a:srgbClr val="191919"/>
                  </a:solidFill>
                  <a:effectLst/>
                  <a:uLnTx/>
                  <a:uFillTx/>
                  <a:latin typeface="PT Root UI Bold" panose="020B0603020202020204" pitchFamily="34" charset="-52"/>
                  <a:ea typeface="PT Root UI Bold" panose="020B0603020202020204" pitchFamily="34" charset="-52"/>
                  <a:cs typeface="Segoe UI Semibold" panose="020B0702040204020203" pitchFamily="34" charset="0"/>
                </a:rPr>
                <a:t>4</a:t>
              </a:r>
              <a:endParaRPr kumimoji="0" lang="ru-RU" sz="1800" b="0" i="0" u="none" strike="noStrike" kern="1200" cap="none" spc="-1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PT Root UI Bold" panose="020B0603020202020204" pitchFamily="34" charset="-52"/>
                <a:ea typeface="PT Root UI Bold" panose="020B0603020202020204" pitchFamily="34" charset="-52"/>
                <a:cs typeface="Segoe UI Semibold" panose="020B0702040204020203" pitchFamily="34" charset="0"/>
              </a:endParaRPr>
            </a:p>
          </p:txBody>
        </p:sp>
      </p:grpSp>
      <p:pic>
        <p:nvPicPr>
          <p:cNvPr id="37" name="Рисунок 3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763998" y="5468400"/>
            <a:ext cx="1266517" cy="1260000"/>
          </a:xfrm>
          <a:prstGeom prst="rect">
            <a:avLst/>
          </a:prstGeom>
        </p:spPr>
      </p:pic>
      <p:sp>
        <p:nvSpPr>
          <p:cNvPr id="54" name="Прямоугольник 53"/>
          <p:cNvSpPr/>
          <p:nvPr/>
        </p:nvSpPr>
        <p:spPr>
          <a:xfrm>
            <a:off x="6580766" y="1436718"/>
            <a:ext cx="5449749" cy="7431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2786">
              <a:lnSpc>
                <a:spcPts val="2500"/>
              </a:lnSpc>
            </a:pPr>
            <a:r>
              <a:rPr lang="ru-RU" sz="2800" b="1" dirty="0">
                <a:solidFill>
                  <a:srgbClr val="9165E8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Вступить в Реестр промышленных компаний: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6896934" y="2667633"/>
            <a:ext cx="4698209" cy="258532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PT Root UI Bold" panose="020B0603020202020204" pitchFamily="34" charset="-52"/>
                <a:ea typeface="PT Root UI Bold" panose="020B0603020202020204" pitchFamily="34" charset="-52"/>
                <a:cs typeface="Segoe UI" panose="020B0502040204020203" pitchFamily="34" charset="0"/>
              </a:rPr>
              <a:t>Зайти на МСП.РФ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rgbClr val="191919"/>
              </a:solidFill>
              <a:effectLst/>
              <a:uLnTx/>
              <a:uFillTx/>
              <a:latin typeface="PT Root UI Bold" panose="020B0603020202020204" pitchFamily="34" charset="-52"/>
              <a:ea typeface="PT Root UI Bold" panose="020B0603020202020204" pitchFamily="34" charset="-52"/>
              <a:cs typeface="Segoe UI" panose="020B0502040204020203" pitchFamily="34" charset="0"/>
            </a:endParaRPr>
          </a:p>
          <a:p>
            <a:pPr lvl="0"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PT Root UI Bold" panose="020B0603020202020204" pitchFamily="34" charset="-52"/>
                <a:ea typeface="PT Root UI Bold" panose="020B0603020202020204" pitchFamily="34" charset="-52"/>
                <a:cs typeface="Segoe UI" panose="020B0502040204020203" pitchFamily="34" charset="0"/>
              </a:rPr>
              <a:t>Авторизоваться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PT Root UI Bold" panose="020B0603020202020204" pitchFamily="34" charset="-52"/>
                <a:ea typeface="PT Root UI Bold" panose="020B0603020202020204" pitchFamily="34" charset="-52"/>
                <a:cs typeface="Segoe UI" panose="020B0502040204020203" pitchFamily="34" charset="0"/>
              </a:rPr>
              <a:t>с помощью учетной записи на </a:t>
            </a:r>
            <a:r>
              <a:rPr lang="ru-RU" sz="1400" dirty="0">
                <a:solidFill>
                  <a:srgbClr val="191919"/>
                </a:solidFill>
                <a:latin typeface="PT Root UI Bold" panose="020B0603020202020204" pitchFamily="34" charset="-52"/>
                <a:ea typeface="PT Root UI Bold" panose="020B0603020202020204" pitchFamily="34" charset="-52"/>
                <a:cs typeface="Segoe UI" panose="020B0502040204020203" pitchFamily="34" charset="0"/>
              </a:rPr>
              <a:t>Госуслугах с «привязанным» бизнесом</a:t>
            </a: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rgbClr val="191919"/>
              </a:solidFill>
              <a:effectLst/>
              <a:uLnTx/>
              <a:uFillTx/>
              <a:latin typeface="PT Root UI Bold" panose="020B0603020202020204" pitchFamily="34" charset="-52"/>
              <a:ea typeface="PT Root UI Bold" panose="020B0603020202020204" pitchFamily="34" charset="-52"/>
              <a:cs typeface="Segoe UI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rgbClr val="191919"/>
              </a:solidFill>
              <a:effectLst/>
              <a:uLnTx/>
              <a:uFillTx/>
              <a:latin typeface="PT Root UI Bold" panose="020B0603020202020204" pitchFamily="34" charset="-52"/>
              <a:ea typeface="PT Root UI Bold" panose="020B0603020202020204" pitchFamily="34" charset="-52"/>
              <a:cs typeface="Segoe UI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PT Root UI Bold" panose="020B0603020202020204" pitchFamily="34" charset="-52"/>
                <a:ea typeface="PT Root UI Bold" panose="020B0603020202020204" pitchFamily="34" charset="-52"/>
                <a:cs typeface="Segoe UI" panose="020B0502040204020203" pitchFamily="34" charset="0"/>
              </a:rPr>
              <a:t>В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PT Root UI Bold" panose="020B0603020202020204" pitchFamily="34" charset="-52"/>
                <a:ea typeface="PT Root UI Bold" panose="020B0603020202020204" pitchFamily="34" charset="-52"/>
                <a:cs typeface="Segoe UI" panose="020B0502040204020203" pitchFamily="34" charset="0"/>
              </a:rPr>
              <a:t>меню «Сервисы» выбрать «Производственная кооперация и сбыт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PT Root UI Bold" panose="020B0603020202020204" pitchFamily="34" charset="-52"/>
                <a:ea typeface="PT Root UI Bold" panose="020B0603020202020204" pitchFamily="34" charset="-52"/>
                <a:cs typeface="Segoe UI" panose="020B0502040204020203" pitchFamily="34" charset="0"/>
              </a:rPr>
              <a:t>»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191919"/>
              </a:solidFill>
              <a:effectLst/>
              <a:uLnTx/>
              <a:uFillTx/>
              <a:latin typeface="PT Root UI Bold" panose="020B0603020202020204" pitchFamily="34" charset="-52"/>
              <a:ea typeface="PT Root UI Bold" panose="020B0603020202020204" pitchFamily="34" charset="-52"/>
              <a:cs typeface="Segoe UI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rgbClr val="191919"/>
              </a:solidFill>
              <a:effectLst/>
              <a:uLnTx/>
              <a:uFillTx/>
              <a:latin typeface="PT Root UI Bold" panose="020B0603020202020204" pitchFamily="34" charset="-52"/>
              <a:ea typeface="PT Root UI Bold" panose="020B0603020202020204" pitchFamily="34" charset="-52"/>
              <a:cs typeface="Segoe UI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PT Root UI Bold" panose="020B0603020202020204" pitchFamily="34" charset="-52"/>
                <a:ea typeface="PT Root UI Bold" panose="020B0603020202020204" pitchFamily="34" charset="-52"/>
                <a:cs typeface="Segoe UI" panose="020B0502040204020203" pitchFamily="34" charset="0"/>
              </a:rPr>
              <a:t>В меню</a:t>
            </a:r>
            <a:r>
              <a:rPr kumimoji="0" lang="ru-RU" sz="1400" b="0" i="0" u="none" strike="noStrike" kern="1200" cap="none" spc="0" normalizeH="0" noProof="0" dirty="0" smtClean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PT Root UI Bold" panose="020B0603020202020204" pitchFamily="34" charset="-52"/>
                <a:ea typeface="PT Root UI Bold" panose="020B0603020202020204" pitchFamily="34" charset="-52"/>
                <a:cs typeface="Segoe UI" panose="020B0502040204020203" pitchFamily="34" charset="0"/>
              </a:rPr>
              <a:t> сервиса перейти в модуль «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PT Root UI Bold" panose="020B0603020202020204" pitchFamily="34" charset="-52"/>
                <a:ea typeface="PT Root UI Bold" panose="020B0603020202020204" pitchFamily="34" charset="-52"/>
                <a:cs typeface="Segoe UI" panose="020B0502040204020203" pitchFamily="34" charset="0"/>
              </a:rPr>
              <a:t>Реестр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PT Root UI Bold" panose="020B0603020202020204" pitchFamily="34" charset="-52"/>
                <a:ea typeface="PT Root UI Bold" panose="020B0603020202020204" pitchFamily="34" charset="-52"/>
                <a:cs typeface="Segoe UI" panose="020B0502040204020203" pitchFamily="34" charset="0"/>
              </a:rPr>
              <a:t>промышленных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PT Root UI Bold" panose="020B0603020202020204" pitchFamily="34" charset="-52"/>
                <a:ea typeface="PT Root UI Bold" panose="020B0603020202020204" pitchFamily="34" charset="-52"/>
                <a:cs typeface="Segoe UI" panose="020B0502040204020203" pitchFamily="34" charset="0"/>
              </a:rPr>
              <a:t>компаний»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 smtClean="0">
                <a:solidFill>
                  <a:srgbClr val="191919"/>
                </a:solidFill>
                <a:latin typeface="PT Root UI" panose="020B0303020202020204" pitchFamily="34" charset="-52"/>
                <a:ea typeface="PT Root UI" panose="020B0303020202020204" pitchFamily="34" charset="-52"/>
                <a:cs typeface="Segoe UI" panose="020B0502040204020203" pitchFamily="34" charset="0"/>
              </a:rPr>
              <a:t>Если Ваша компания соответствует критериям, система предложит подать заявку на вступление в Реестр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191919"/>
              </a:solidFill>
              <a:effectLst/>
              <a:uLnTx/>
              <a:uFillTx/>
              <a:latin typeface="PT Root UI" panose="020B0303020202020204" pitchFamily="34" charset="-52"/>
              <a:ea typeface="PT Root UI" panose="020B0303020202020204" pitchFamily="34" charset="-52"/>
              <a:cs typeface="Segoe UI" panose="020B0502040204020203" pitchFamily="34" charset="0"/>
            </a:endParaRPr>
          </a:p>
        </p:txBody>
      </p:sp>
      <p:grpSp>
        <p:nvGrpSpPr>
          <p:cNvPr id="56" name="Группа 55"/>
          <p:cNvGrpSpPr/>
          <p:nvPr/>
        </p:nvGrpSpPr>
        <p:grpSpPr>
          <a:xfrm>
            <a:off x="6366477" y="2627598"/>
            <a:ext cx="383023" cy="383023"/>
            <a:chOff x="2301447" y="2329448"/>
            <a:chExt cx="383023" cy="383023"/>
          </a:xfrm>
        </p:grpSpPr>
        <p:sp>
          <p:nvSpPr>
            <p:cNvPr id="57" name="Овал 56"/>
            <p:cNvSpPr/>
            <p:nvPr/>
          </p:nvSpPr>
          <p:spPr>
            <a:xfrm>
              <a:off x="2301447" y="2329448"/>
              <a:ext cx="383023" cy="383023"/>
            </a:xfrm>
            <a:prstGeom prst="ellipse">
              <a:avLst/>
            </a:prstGeom>
            <a:solidFill>
              <a:srgbClr val="84E0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Root UI Bold" panose="020B0603020202020204" pitchFamily="34" charset="-52"/>
                <a:ea typeface="PT Root UI Bold" panose="020B0603020202020204" pitchFamily="34" charset="-52"/>
              </a:endParaRPr>
            </a:p>
          </p:txBody>
        </p:sp>
        <p:sp>
          <p:nvSpPr>
            <p:cNvPr id="58" name="Прямоугольник 57"/>
            <p:cNvSpPr/>
            <p:nvPr/>
          </p:nvSpPr>
          <p:spPr>
            <a:xfrm>
              <a:off x="2301447" y="2371208"/>
              <a:ext cx="344324" cy="276999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-10" normalizeH="0" baseline="0" noProof="0" dirty="0" smtClean="0">
                  <a:ln>
                    <a:noFill/>
                  </a:ln>
                  <a:solidFill>
                    <a:srgbClr val="191919"/>
                  </a:solidFill>
                  <a:effectLst/>
                  <a:uLnTx/>
                  <a:uFillTx/>
                  <a:latin typeface="PT Root UI Bold" panose="020B0603020202020204" pitchFamily="34" charset="-52"/>
                  <a:ea typeface="PT Root UI Bold" panose="020B0603020202020204" pitchFamily="34" charset="-52"/>
                  <a:cs typeface="Segoe UI Semibold" panose="020B0702040204020203" pitchFamily="34" charset="0"/>
                </a:rPr>
                <a:t>1</a:t>
              </a:r>
              <a:endParaRPr kumimoji="0" lang="ru-RU" sz="1800" b="0" i="0" u="none" strike="noStrike" kern="1200" cap="none" spc="-1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PT Root UI Bold" panose="020B0603020202020204" pitchFamily="34" charset="-52"/>
                <a:ea typeface="PT Root UI Bold" panose="020B0603020202020204" pitchFamily="34" charset="-52"/>
                <a:cs typeface="Segoe UI Semibold" panose="020B0702040204020203" pitchFamily="34" charset="0"/>
              </a:endParaRPr>
            </a:p>
          </p:txBody>
        </p:sp>
      </p:grpSp>
      <p:grpSp>
        <p:nvGrpSpPr>
          <p:cNvPr id="59" name="Группа 58"/>
          <p:cNvGrpSpPr/>
          <p:nvPr/>
        </p:nvGrpSpPr>
        <p:grpSpPr>
          <a:xfrm>
            <a:off x="6366477" y="3749010"/>
            <a:ext cx="383023" cy="383023"/>
            <a:chOff x="2301447" y="2329448"/>
            <a:chExt cx="383023" cy="383023"/>
          </a:xfrm>
        </p:grpSpPr>
        <p:sp>
          <p:nvSpPr>
            <p:cNvPr id="60" name="Овал 59"/>
            <p:cNvSpPr/>
            <p:nvPr/>
          </p:nvSpPr>
          <p:spPr>
            <a:xfrm>
              <a:off x="2301447" y="2329448"/>
              <a:ext cx="383023" cy="383023"/>
            </a:xfrm>
            <a:prstGeom prst="ellipse">
              <a:avLst/>
            </a:prstGeom>
            <a:solidFill>
              <a:srgbClr val="84E0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Root UI Bold" panose="020B0603020202020204" pitchFamily="34" charset="-52"/>
                <a:ea typeface="PT Root UI Bold" panose="020B0603020202020204" pitchFamily="34" charset="-52"/>
              </a:endParaRPr>
            </a:p>
          </p:txBody>
        </p:sp>
        <p:sp>
          <p:nvSpPr>
            <p:cNvPr id="61" name="Прямоугольник 60"/>
            <p:cNvSpPr/>
            <p:nvPr/>
          </p:nvSpPr>
          <p:spPr>
            <a:xfrm>
              <a:off x="2301447" y="2371208"/>
              <a:ext cx="344324" cy="276999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-10" normalizeH="0" baseline="0" noProof="0" dirty="0" smtClean="0">
                  <a:ln>
                    <a:noFill/>
                  </a:ln>
                  <a:solidFill>
                    <a:srgbClr val="191919"/>
                  </a:solidFill>
                  <a:effectLst/>
                  <a:uLnTx/>
                  <a:uFillTx/>
                  <a:latin typeface="PT Root UI Bold" panose="020B0603020202020204" pitchFamily="34" charset="-52"/>
                  <a:ea typeface="PT Root UI Bold" panose="020B0603020202020204" pitchFamily="34" charset="-52"/>
                  <a:cs typeface="Segoe UI Semibold" panose="020B0702040204020203" pitchFamily="34" charset="0"/>
                </a:rPr>
                <a:t>3</a:t>
              </a:r>
              <a:endParaRPr kumimoji="0" lang="ru-RU" sz="1800" b="0" i="0" u="none" strike="noStrike" kern="1200" cap="none" spc="-1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PT Root UI Bold" panose="020B0603020202020204" pitchFamily="34" charset="-52"/>
                <a:ea typeface="PT Root UI Bold" panose="020B0603020202020204" pitchFamily="34" charset="-52"/>
                <a:cs typeface="Segoe UI Semibold" panose="020B0702040204020203" pitchFamily="34" charset="0"/>
              </a:endParaRPr>
            </a:p>
          </p:txBody>
        </p:sp>
      </p:grpSp>
      <p:grpSp>
        <p:nvGrpSpPr>
          <p:cNvPr id="62" name="Группа 61"/>
          <p:cNvGrpSpPr/>
          <p:nvPr/>
        </p:nvGrpSpPr>
        <p:grpSpPr>
          <a:xfrm>
            <a:off x="6366477" y="3123320"/>
            <a:ext cx="383023" cy="383023"/>
            <a:chOff x="2301447" y="2329448"/>
            <a:chExt cx="383023" cy="383023"/>
          </a:xfrm>
        </p:grpSpPr>
        <p:sp>
          <p:nvSpPr>
            <p:cNvPr id="63" name="Овал 62"/>
            <p:cNvSpPr/>
            <p:nvPr/>
          </p:nvSpPr>
          <p:spPr>
            <a:xfrm>
              <a:off x="2301447" y="2329448"/>
              <a:ext cx="383023" cy="383023"/>
            </a:xfrm>
            <a:prstGeom prst="ellipse">
              <a:avLst/>
            </a:prstGeom>
            <a:solidFill>
              <a:srgbClr val="84E0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Root UI Bold" panose="020B0603020202020204" pitchFamily="34" charset="-52"/>
                <a:ea typeface="PT Root UI Bold" panose="020B0603020202020204" pitchFamily="34" charset="-52"/>
              </a:endParaRPr>
            </a:p>
          </p:txBody>
        </p:sp>
        <p:sp>
          <p:nvSpPr>
            <p:cNvPr id="64" name="Прямоугольник 63"/>
            <p:cNvSpPr/>
            <p:nvPr/>
          </p:nvSpPr>
          <p:spPr>
            <a:xfrm>
              <a:off x="2301447" y="2371208"/>
              <a:ext cx="344324" cy="276999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-10" normalizeH="0" baseline="0" noProof="0" dirty="0">
                  <a:ln>
                    <a:noFill/>
                  </a:ln>
                  <a:solidFill>
                    <a:srgbClr val="191919"/>
                  </a:solidFill>
                  <a:effectLst/>
                  <a:uLnTx/>
                  <a:uFillTx/>
                  <a:latin typeface="PT Root UI Bold" panose="020B0603020202020204" pitchFamily="34" charset="-52"/>
                  <a:ea typeface="PT Root UI Bold" panose="020B0603020202020204" pitchFamily="34" charset="-52"/>
                  <a:cs typeface="Segoe UI Semibold" panose="020B0702040204020203" pitchFamily="34" charset="0"/>
                </a:rPr>
                <a:t>2</a:t>
              </a:r>
            </a:p>
          </p:txBody>
        </p:sp>
      </p:grpSp>
      <p:grpSp>
        <p:nvGrpSpPr>
          <p:cNvPr id="65" name="Группа 64"/>
          <p:cNvGrpSpPr/>
          <p:nvPr/>
        </p:nvGrpSpPr>
        <p:grpSpPr>
          <a:xfrm>
            <a:off x="6366477" y="4381250"/>
            <a:ext cx="383023" cy="383023"/>
            <a:chOff x="2301447" y="2329448"/>
            <a:chExt cx="383023" cy="383023"/>
          </a:xfrm>
        </p:grpSpPr>
        <p:sp>
          <p:nvSpPr>
            <p:cNvPr id="66" name="Овал 65"/>
            <p:cNvSpPr/>
            <p:nvPr/>
          </p:nvSpPr>
          <p:spPr>
            <a:xfrm>
              <a:off x="2301447" y="2329448"/>
              <a:ext cx="383023" cy="383023"/>
            </a:xfrm>
            <a:prstGeom prst="ellipse">
              <a:avLst/>
            </a:prstGeom>
            <a:solidFill>
              <a:srgbClr val="84E0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Root UI Bold" panose="020B0603020202020204" pitchFamily="34" charset="-52"/>
                <a:ea typeface="PT Root UI Bold" panose="020B0603020202020204" pitchFamily="34" charset="-52"/>
              </a:endParaRPr>
            </a:p>
          </p:txBody>
        </p:sp>
        <p:sp>
          <p:nvSpPr>
            <p:cNvPr id="67" name="Прямоугольник 66"/>
            <p:cNvSpPr/>
            <p:nvPr/>
          </p:nvSpPr>
          <p:spPr>
            <a:xfrm>
              <a:off x="2301447" y="2371208"/>
              <a:ext cx="344324" cy="276999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-10" normalizeH="0" baseline="0" noProof="0" dirty="0" smtClean="0">
                  <a:ln>
                    <a:noFill/>
                  </a:ln>
                  <a:solidFill>
                    <a:srgbClr val="191919"/>
                  </a:solidFill>
                  <a:effectLst/>
                  <a:uLnTx/>
                  <a:uFillTx/>
                  <a:latin typeface="PT Root UI Bold" panose="020B0603020202020204" pitchFamily="34" charset="-52"/>
                  <a:ea typeface="PT Root UI Bold" panose="020B0603020202020204" pitchFamily="34" charset="-52"/>
                  <a:cs typeface="Segoe UI Semibold" panose="020B0702040204020203" pitchFamily="34" charset="0"/>
                </a:rPr>
                <a:t>4</a:t>
              </a:r>
              <a:endParaRPr kumimoji="0" lang="ru-RU" sz="1800" b="0" i="0" u="none" strike="noStrike" kern="1200" cap="none" spc="-1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PT Root UI Bold" panose="020B0603020202020204" pitchFamily="34" charset="-52"/>
                <a:ea typeface="PT Root UI Bold" panose="020B0603020202020204" pitchFamily="34" charset="-52"/>
                <a:cs typeface="Segoe UI Semibold" panose="020B0702040204020203" pitchFamily="34" charset="0"/>
              </a:endParaRPr>
            </a:p>
          </p:txBody>
        </p:sp>
      </p:grpSp>
      <p:sp>
        <p:nvSpPr>
          <p:cNvPr id="2" name="Прямоугольник 1"/>
          <p:cNvSpPr/>
          <p:nvPr/>
        </p:nvSpPr>
        <p:spPr>
          <a:xfrm>
            <a:off x="5046452" y="6038190"/>
            <a:ext cx="614024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dirty="0" smtClean="0">
                <a:solidFill>
                  <a:srgbClr val="191919"/>
                </a:solidFill>
                <a:latin typeface="PT Root UI Medium" panose="020B0503020202020204" pitchFamily="34" charset="-52"/>
                <a:ea typeface="PT Root UI Medium" panose="020B0503020202020204" pitchFamily="34" charset="-52"/>
                <a:cs typeface="Segoe UI" panose="020B0502040204020203" pitchFamily="34" charset="0"/>
              </a:rPr>
              <a:t>А </a:t>
            </a:r>
            <a:r>
              <a:rPr lang="ru-RU" dirty="0">
                <a:solidFill>
                  <a:srgbClr val="191919"/>
                </a:solidFill>
                <a:latin typeface="PT Root UI Medium" panose="020B0503020202020204" pitchFamily="34" charset="-52"/>
                <a:ea typeface="PT Root UI Medium" panose="020B0503020202020204" pitchFamily="34" charset="-52"/>
                <a:cs typeface="Segoe UI" panose="020B0502040204020203" pitchFamily="34" charset="0"/>
              </a:rPr>
              <a:t>еще можно найти </a:t>
            </a:r>
            <a:r>
              <a:rPr lang="ru-RU" dirty="0" smtClean="0">
                <a:solidFill>
                  <a:srgbClr val="191919"/>
                </a:solidFill>
                <a:latin typeface="PT Root UI Medium" panose="020B0503020202020204" pitchFamily="34" charset="-52"/>
                <a:ea typeface="PT Root UI Medium" panose="020B0503020202020204" pitchFamily="34" charset="-52"/>
                <a:cs typeface="Segoe UI" panose="020B0502040204020203" pitchFamily="34" charset="0"/>
              </a:rPr>
              <a:t>нужного </a:t>
            </a:r>
            <a:r>
              <a:rPr lang="ru-RU" dirty="0">
                <a:solidFill>
                  <a:srgbClr val="191919"/>
                </a:solidFill>
                <a:latin typeface="PT Root UI Medium" panose="020B0503020202020204" pitchFamily="34" charset="-52"/>
                <a:ea typeface="PT Root UI Medium" panose="020B0503020202020204" pitchFamily="34" charset="-52"/>
                <a:cs typeface="Segoe UI" panose="020B0502040204020203" pitchFamily="34" charset="0"/>
              </a:rPr>
              <a:t>поставщика в своем </a:t>
            </a:r>
            <a:r>
              <a:rPr lang="ru-RU" dirty="0" smtClean="0">
                <a:solidFill>
                  <a:srgbClr val="191919"/>
                </a:solidFill>
                <a:latin typeface="PT Root UI Medium" panose="020B0503020202020204" pitchFamily="34" charset="-52"/>
                <a:ea typeface="PT Root UI Medium" panose="020B0503020202020204" pitchFamily="34" charset="-52"/>
                <a:cs typeface="Segoe UI" panose="020B0502040204020203" pitchFamily="34" charset="0"/>
              </a:rPr>
              <a:t>регионе </a:t>
            </a:r>
            <a:r>
              <a:rPr lang="ru-RU" dirty="0">
                <a:solidFill>
                  <a:srgbClr val="191919"/>
                </a:solidFill>
                <a:latin typeface="PT Root UI Medium" panose="020B0503020202020204" pitchFamily="34" charset="-52"/>
                <a:ea typeface="PT Root UI Medium" panose="020B0503020202020204" pitchFamily="34" charset="-52"/>
                <a:cs typeface="Segoe UI" panose="020B0502040204020203" pitchFamily="34" charset="0"/>
              </a:rPr>
              <a:t>по наименованию продукции/коду </a:t>
            </a:r>
            <a:r>
              <a:rPr lang="ru-RU" dirty="0" smtClean="0">
                <a:solidFill>
                  <a:srgbClr val="191919"/>
                </a:solidFill>
                <a:latin typeface="PT Root UI Medium" panose="020B0503020202020204" pitchFamily="34" charset="-52"/>
                <a:ea typeface="PT Root UI Medium" panose="020B0503020202020204" pitchFamily="34" charset="-52"/>
                <a:cs typeface="Segoe UI" panose="020B0502040204020203" pitchFamily="34" charset="0"/>
              </a:rPr>
              <a:t>ОКПД2</a:t>
            </a:r>
            <a:endParaRPr lang="ru-RU" sz="1100" spc="-6" dirty="0">
              <a:solidFill>
                <a:srgbClr val="FF6464"/>
              </a:solidFill>
              <a:latin typeface="PT Root UI Medium" panose="020B0503020202020204" pitchFamily="34" charset="-52"/>
              <a:ea typeface="PT Root UI Medium" panose="020B0503020202020204" pitchFamily="34" charset="-52"/>
              <a:cs typeface="Segoe UI" panose="020B0502040204020203" pitchFamily="34" charset="0"/>
            </a:endParaRPr>
          </a:p>
        </p:txBody>
      </p:sp>
      <p:pic>
        <p:nvPicPr>
          <p:cNvPr id="36" name="Рисунок 61">
            <a:extLst>
              <a:ext uri="{FF2B5EF4-FFF2-40B4-BE49-F238E27FC236}">
                <a16:creationId xmlns:a16="http://schemas.microsoft.com/office/drawing/2014/main" id="{ED2A8417-2BC5-887B-EC92-40F89A41BEFB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10849" y="723905"/>
            <a:ext cx="572813" cy="299463"/>
          </a:xfrm>
          <a:prstGeom prst="rect">
            <a:avLst/>
          </a:prstGeom>
        </p:spPr>
      </p:pic>
      <p:pic>
        <p:nvPicPr>
          <p:cNvPr id="38" name="Рисунок 3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36152" y="770133"/>
            <a:ext cx="1465327" cy="1554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22981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72" name="Слайд think-cell" r:id="rId5" imgW="347" imgH="348" progId="TCLayout.ActiveDocument.1">
                  <p:embed/>
                </p:oleObj>
              </mc:Choice>
              <mc:Fallback>
                <p:oleObj name="Слайд think-cell" r:id="rId5" imgW="347" imgH="348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Прямоугольник 11"/>
          <p:cNvSpPr/>
          <p:nvPr/>
        </p:nvSpPr>
        <p:spPr>
          <a:xfrm>
            <a:off x="355907" y="332615"/>
            <a:ext cx="9348810" cy="4616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defTabSz="457200">
              <a:lnSpc>
                <a:spcPts val="3600"/>
              </a:lnSpc>
              <a:defRPr/>
            </a:pPr>
            <a:endParaRPr lang="ru-RU" sz="3600" dirty="0"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9CFAFD6-D9D2-87C9-499D-2BF8234A716A}"/>
              </a:ext>
            </a:extLst>
          </p:cNvPr>
          <p:cNvSpPr txBox="1"/>
          <p:nvPr/>
        </p:nvSpPr>
        <p:spPr>
          <a:xfrm>
            <a:off x="355907" y="118525"/>
            <a:ext cx="849599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2800" b="1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 smtClean="0">
                <a:solidFill>
                  <a:prstClr val="black"/>
                </a:solidFill>
              </a:rPr>
              <a:t>Сервис «Производственная кооперация и сбыт»</a:t>
            </a:r>
            <a:endParaRPr kumimoji="0" lang="ru-RU" sz="2800" b="1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24" name="Rounded Rectangle 1">
            <a:extLst>
              <a:ext uri="{FF2B5EF4-FFF2-40B4-BE49-F238E27FC236}">
                <a16:creationId xmlns:a16="http://schemas.microsoft.com/office/drawing/2014/main" id="{A0A5BB4C-475C-902C-1DAF-655069B1AE51}"/>
              </a:ext>
            </a:extLst>
          </p:cNvPr>
          <p:cNvSpPr/>
          <p:nvPr/>
        </p:nvSpPr>
        <p:spPr>
          <a:xfrm>
            <a:off x="468230" y="1177932"/>
            <a:ext cx="11230550" cy="2429795"/>
          </a:xfrm>
          <a:prstGeom prst="roundRect">
            <a:avLst>
              <a:gd name="adj" fmla="val 13570"/>
            </a:avLst>
          </a:prstGeom>
          <a:noFill/>
          <a:ln>
            <a:solidFill>
              <a:srgbClr val="9165E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endParaRPr lang="ru-RU" sz="1100" dirty="0" smtClean="0">
              <a:solidFill>
                <a:srgbClr val="9165E8"/>
              </a:solidFill>
              <a:latin typeface="PT Root UI Bold" panose="020B0603020202020204" pitchFamily="34" charset="-52"/>
              <a:ea typeface="PT Root UI Bold" panose="020B0603020202020204" pitchFamily="34" charset="-52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743962" y="1294704"/>
            <a:ext cx="10798341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000" dirty="0" smtClean="0">
                <a:latin typeface="PT Root UI" panose="020B0303020202020204" pitchFamily="34" charset="-52"/>
                <a:ea typeface="PT Root UI" panose="020B0303020202020204" pitchFamily="34" charset="-52"/>
                <a:cs typeface="Segoe UI" panose="020B0502040204020203" pitchFamily="34" charset="0"/>
              </a:rPr>
              <a:t>Помогать частному бизнесу региона </a:t>
            </a:r>
            <a:r>
              <a:rPr lang="ru-RU" sz="2000" dirty="0" smtClean="0">
                <a:latin typeface="PT Root UI Bold" panose="020B0603020202020204" pitchFamily="34" charset="-52"/>
                <a:ea typeface="PT Root UI Bold" panose="020B0603020202020204" pitchFamily="34" charset="-52"/>
                <a:cs typeface="Segoe UI" panose="020B0502040204020203" pitchFamily="34" charset="0"/>
              </a:rPr>
              <a:t>размещать свои потребности </a:t>
            </a:r>
            <a:r>
              <a:rPr lang="ru-RU" sz="2000" dirty="0">
                <a:latin typeface="PT Root UI" panose="020B0303020202020204" pitchFamily="34" charset="-52"/>
                <a:ea typeface="PT Root UI" panose="020B0303020202020204" pitchFamily="34" charset="-52"/>
                <a:cs typeface="Segoe UI" panose="020B0502040204020203" pitchFamily="34" charset="0"/>
              </a:rPr>
              <a:t>на Цифровой платформе </a:t>
            </a:r>
            <a:r>
              <a:rPr lang="ru-RU" sz="2000" dirty="0" smtClean="0">
                <a:latin typeface="PT Root UI" panose="020B0303020202020204" pitchFamily="34" charset="-52"/>
                <a:ea typeface="PT Root UI" panose="020B0303020202020204" pitchFamily="34" charset="-52"/>
                <a:cs typeface="Segoe UI" panose="020B0502040204020203" pitchFamily="34" charset="0"/>
              </a:rPr>
              <a:t>МСП.РФ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000" dirty="0" smtClean="0">
                <a:latin typeface="PT Root UI" panose="020B0303020202020204" pitchFamily="34" charset="-52"/>
                <a:ea typeface="PT Root UI" panose="020B0303020202020204" pitchFamily="34" charset="-52"/>
                <a:cs typeface="Segoe UI" panose="020B0502040204020203" pitchFamily="34" charset="0"/>
              </a:rPr>
              <a:t>Помогать субъектам МСП региона </a:t>
            </a:r>
            <a:r>
              <a:rPr lang="ru-RU" sz="2000" dirty="0" smtClean="0">
                <a:latin typeface="PT Root UI Bold" panose="020B0603020202020204" pitchFamily="34" charset="-52"/>
                <a:ea typeface="PT Root UI Bold" panose="020B0603020202020204" pitchFamily="34" charset="-52"/>
                <a:cs typeface="Segoe UI" panose="020B0502040204020203" pitchFamily="34" charset="0"/>
              </a:rPr>
              <a:t>находить </a:t>
            </a:r>
            <a:r>
              <a:rPr lang="ru-RU" sz="2000" dirty="0" smtClean="0">
                <a:latin typeface="PT Root UI" panose="020B0303020202020204" pitchFamily="34" charset="-52"/>
                <a:ea typeface="PT Root UI" panose="020B0303020202020204" pitchFamily="34" charset="-52"/>
                <a:cs typeface="Segoe UI" panose="020B0502040204020203" pitchFamily="34" charset="0"/>
              </a:rPr>
              <a:t>на Цифровой платформе МСП.РФ </a:t>
            </a:r>
            <a:r>
              <a:rPr lang="ru-RU" sz="2000" dirty="0" smtClean="0">
                <a:latin typeface="PT Root UI Bold" panose="020B0603020202020204" pitchFamily="34" charset="-52"/>
                <a:ea typeface="PT Root UI Bold" panose="020B0603020202020204" pitchFamily="34" charset="-52"/>
                <a:cs typeface="Segoe UI" panose="020B0502040204020203" pitchFamily="34" charset="0"/>
              </a:rPr>
              <a:t>релевантные потребности и откликаться на них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000" dirty="0" smtClean="0">
                <a:latin typeface="PT Root UI" panose="020B0303020202020204" pitchFamily="34" charset="-52"/>
                <a:ea typeface="PT Root UI" panose="020B0303020202020204" pitchFamily="34" charset="-52"/>
                <a:cs typeface="Segoe UI" panose="020B0502040204020203" pitchFamily="34" charset="0"/>
              </a:rPr>
              <a:t>Помогать субъектам МСП региона </a:t>
            </a:r>
            <a:r>
              <a:rPr lang="ru-RU" sz="2000" dirty="0" smtClean="0">
                <a:latin typeface="PT Root UI Bold" panose="020B0603020202020204" pitchFamily="34" charset="-52"/>
                <a:ea typeface="PT Root UI Bold" panose="020B0603020202020204" pitchFamily="34" charset="-52"/>
                <a:cs typeface="Segoe UI" panose="020B0502040204020203" pitchFamily="34" charset="0"/>
              </a:rPr>
              <a:t>размещать информацию о своей компании и производимой продукции в Реестре промышленных компаний </a:t>
            </a:r>
            <a:r>
              <a:rPr lang="ru-RU" sz="2000" dirty="0" smtClean="0">
                <a:latin typeface="PT Root UI" panose="020B0303020202020204" pitchFamily="34" charset="-52"/>
                <a:ea typeface="PT Root UI" panose="020B0303020202020204" pitchFamily="34" charset="-52"/>
                <a:cs typeface="Segoe UI" panose="020B0502040204020203" pitchFamily="34" charset="0"/>
              </a:rPr>
              <a:t>на Цифровой платформе МСП.РФ</a:t>
            </a:r>
            <a:endParaRPr lang="ru-RU" sz="2000" dirty="0">
              <a:latin typeface="PT Root UI" panose="020B0303020202020204" pitchFamily="34" charset="-52"/>
              <a:ea typeface="PT Root UI" panose="020B0303020202020204" pitchFamily="34" charset="-52"/>
              <a:cs typeface="Segoe UI" panose="020B0502040204020203" pitchFamily="34" charset="0"/>
            </a:endParaRPr>
          </a:p>
        </p:txBody>
      </p:sp>
      <p:sp>
        <p:nvSpPr>
          <p:cNvPr id="26" name="Rounded Rectangle 1">
            <a:extLst>
              <a:ext uri="{FF2B5EF4-FFF2-40B4-BE49-F238E27FC236}">
                <a16:creationId xmlns:a16="http://schemas.microsoft.com/office/drawing/2014/main" id="{A0A5BB4C-475C-902C-1DAF-655069B1AE51}"/>
              </a:ext>
            </a:extLst>
          </p:cNvPr>
          <p:cNvSpPr/>
          <p:nvPr/>
        </p:nvSpPr>
        <p:spPr>
          <a:xfrm>
            <a:off x="468230" y="3888627"/>
            <a:ext cx="11230550" cy="1140087"/>
          </a:xfrm>
          <a:prstGeom prst="roundRect">
            <a:avLst>
              <a:gd name="adj" fmla="val 13570"/>
            </a:avLst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ru-RU" sz="1100" dirty="0" smtClean="0">
              <a:solidFill>
                <a:srgbClr val="9165E8"/>
              </a:solidFill>
              <a:latin typeface="PT Root UI Bold" panose="020B0603020202020204" pitchFamily="34" charset="-52"/>
              <a:ea typeface="PT Root UI Bold" panose="020B0603020202020204" pitchFamily="34" charset="-52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468230" y="3930092"/>
            <a:ext cx="11230550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 smtClean="0">
                <a:solidFill>
                  <a:schemeClr val="bg1"/>
                </a:solidFill>
                <a:latin typeface="PT Root UI Bold" panose="020B0603020202020204" pitchFamily="34" charset="-52"/>
                <a:ea typeface="PT Root UI Bold" panose="020B0603020202020204" pitchFamily="34" charset="-52"/>
                <a:cs typeface="Segoe UI" panose="020B0502040204020203" pitchFamily="34" charset="0"/>
              </a:rPr>
              <a:t>Представители Корпорации МСП готовы принять участие в мероприятиях для субъектов МСП и крупного частного бизнеса в вашем регионе с целью популяризации возможностей сервиса «Производственная кооперация и сбыт» и других мер поддержки.</a:t>
            </a:r>
            <a:endParaRPr lang="ru-RU" sz="2000" dirty="0">
              <a:solidFill>
                <a:schemeClr val="bg1"/>
              </a:solidFill>
              <a:latin typeface="PT Root UI Bold" panose="020B0603020202020204" pitchFamily="34" charset="-52"/>
              <a:ea typeface="PT Root UI Bold" panose="020B0603020202020204" pitchFamily="34" charset="-52"/>
              <a:cs typeface="Segoe UI" panose="020B0502040204020203" pitchFamily="34" charset="0"/>
            </a:endParaRPr>
          </a:p>
        </p:txBody>
      </p:sp>
      <p:sp>
        <p:nvSpPr>
          <p:cNvPr id="16" name="Номер слайда 1">
            <a:extLst>
              <a:ext uri="{FF2B5EF4-FFF2-40B4-BE49-F238E27FC236}">
                <a16:creationId xmlns:a16="http://schemas.microsoft.com/office/drawing/2014/main" id="{ACB90E8B-B8F0-2A74-9BCE-5040131924F9}"/>
              </a:ext>
            </a:extLst>
          </p:cNvPr>
          <p:cNvSpPr txBox="1">
            <a:spLocks/>
          </p:cNvSpPr>
          <p:nvPr/>
        </p:nvSpPr>
        <p:spPr>
          <a:xfrm>
            <a:off x="11542303" y="6613537"/>
            <a:ext cx="509848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F49150-8608-4927-A2AD-0FD9DDF7E69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355907" y="683580"/>
            <a:ext cx="1033204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spc="7" dirty="0" smtClean="0">
                <a:solidFill>
                  <a:srgbClr val="191919"/>
                </a:solidFill>
                <a:latin typeface="PT Root UI Bold" panose="020B0603020202020204" pitchFamily="34" charset="-52"/>
                <a:ea typeface="PT Root UI Bold" panose="020B0603020202020204" pitchFamily="34" charset="-52"/>
                <a:cs typeface="Segoe UI" panose="020B0502040204020203" pitchFamily="34" charset="0"/>
              </a:rPr>
              <a:t>Основные задачи:</a:t>
            </a:r>
            <a:endParaRPr lang="ru-RU" sz="2000" spc="7" dirty="0">
              <a:solidFill>
                <a:srgbClr val="191919"/>
              </a:solidFill>
              <a:latin typeface="PT Root UI Bold" panose="020B0603020202020204" pitchFamily="34" charset="-52"/>
              <a:ea typeface="PT Root UI Bold" panose="020B0603020202020204" pitchFamily="34" charset="-52"/>
              <a:cs typeface="Segoe UI" panose="020B0502040204020203" pitchFamily="34" charset="0"/>
            </a:endParaRPr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E50D54E4-0632-EB9A-8EA6-B400797489D3}"/>
              </a:ext>
            </a:extLst>
          </p:cNvPr>
          <p:cNvSpPr/>
          <p:nvPr/>
        </p:nvSpPr>
        <p:spPr>
          <a:xfrm>
            <a:off x="4603903" y="5514154"/>
            <a:ext cx="6017281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0" i="0" u="none" strike="noStrike" kern="1200" cap="none" spc="7" normalizeH="0" baseline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PT Root UI Bold" panose="020B0603020202020204" pitchFamily="34" charset="-52"/>
                <a:ea typeface="PT Root UI Bold" panose="020B0603020202020204" pitchFamily="34" charset="-52"/>
                <a:cs typeface="Segoe UI" panose="020B0502040204020203" pitchFamily="34" charset="0"/>
              </a:rPr>
              <a:t>Телеграмм-чат для обсуждения вопросов и обмена опытом: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7030A0"/>
              </a:solidFill>
              <a:effectLst/>
              <a:uLnTx/>
              <a:uFillTx/>
              <a:latin typeface="PT Root UI Bold" panose="020B0603020202020204" pitchFamily="34" charset="-52"/>
              <a:ea typeface="PT Root UI Bold" panose="020B0603020202020204" pitchFamily="34" charset="-52"/>
            </a:endParaRPr>
          </a:p>
        </p:txBody>
      </p:sp>
      <p:pic>
        <p:nvPicPr>
          <p:cNvPr id="29" name="Рисунок 2" descr="http://qrcoder.ru/code/?https%3A%2F%2Ft.me%2F%2Bv1zS8-7LySE1MWIy&amp;4&amp;0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1745" y="5091880"/>
            <a:ext cx="1706323" cy="17063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3621" y="548239"/>
            <a:ext cx="1465327" cy="155484"/>
          </a:xfrm>
          <a:prstGeom prst="rect">
            <a:avLst/>
          </a:prstGeom>
        </p:spPr>
      </p:pic>
      <p:pic>
        <p:nvPicPr>
          <p:cNvPr id="21" name="Рисунок 61">
            <a:extLst>
              <a:ext uri="{FF2B5EF4-FFF2-40B4-BE49-F238E27FC236}">
                <a16:creationId xmlns:a16="http://schemas.microsoft.com/office/drawing/2014/main" id="{ED2A8417-2BC5-887B-EC92-40F89A41BEFB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01479" y="476250"/>
            <a:ext cx="572813" cy="299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96783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Прямоугольник 23"/>
          <p:cNvSpPr/>
          <p:nvPr/>
        </p:nvSpPr>
        <p:spPr>
          <a:xfrm>
            <a:off x="3989460" y="2454844"/>
            <a:ext cx="4938879" cy="66662"/>
          </a:xfrm>
          <a:prstGeom prst="rect">
            <a:avLst/>
          </a:prstGeom>
          <a:solidFill>
            <a:srgbClr val="50CDFF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445E710-F96D-300F-0374-6E276D7CB429}"/>
              </a:ext>
            </a:extLst>
          </p:cNvPr>
          <p:cNvSpPr txBox="1"/>
          <p:nvPr/>
        </p:nvSpPr>
        <p:spPr>
          <a:xfrm>
            <a:off x="3932882" y="2212819"/>
            <a:ext cx="586672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44767"/>
            <a:r>
              <a:rPr lang="ru-RU" sz="2000" dirty="0">
                <a:latin typeface="PT Root UI Bold" panose="020B0603020202020204" pitchFamily="34" charset="-52"/>
                <a:ea typeface="PT Root UI Bold" panose="020B0603020202020204" pitchFamily="34" charset="-52"/>
                <a:cs typeface="Segoe UI Semibold" panose="020B0702040204020203" pitchFamily="34" charset="0"/>
              </a:rPr>
              <a:t>Для того, чтобы </a:t>
            </a:r>
            <a:r>
              <a:rPr lang="ru-RU" sz="2000" dirty="0" smtClean="0">
                <a:latin typeface="PT Root UI Bold" panose="020B0603020202020204" pitchFamily="34" charset="-52"/>
                <a:ea typeface="PT Root UI Bold" panose="020B0603020202020204" pitchFamily="34" charset="-52"/>
                <a:cs typeface="Segoe UI Semibold" panose="020B0702040204020203" pitchFamily="34" charset="0"/>
              </a:rPr>
              <a:t>предприниматели </a:t>
            </a:r>
            <a:r>
              <a:rPr lang="ru-RU" sz="2000" dirty="0">
                <a:latin typeface="PT Root UI Bold" panose="020B0603020202020204" pitchFamily="34" charset="-52"/>
                <a:ea typeface="PT Root UI Bold" panose="020B0603020202020204" pitchFamily="34" charset="-52"/>
                <a:cs typeface="Segoe UI Semibold" panose="020B0702040204020203" pitchFamily="34" charset="0"/>
              </a:rPr>
              <a:t>могли: 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477138" y="1677840"/>
            <a:ext cx="4541520" cy="71120"/>
          </a:xfrm>
          <a:prstGeom prst="rect">
            <a:avLst/>
          </a:prstGeom>
          <a:solidFill>
            <a:srgbClr val="50CDFF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445E710-F96D-300F-0374-6E276D7CB429}"/>
              </a:ext>
            </a:extLst>
          </p:cNvPr>
          <p:cNvSpPr txBox="1"/>
          <p:nvPr/>
        </p:nvSpPr>
        <p:spPr>
          <a:xfrm>
            <a:off x="382477" y="1111083"/>
            <a:ext cx="650140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44767"/>
            <a:r>
              <a:rPr lang="ru-RU" sz="2000" dirty="0" smtClean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</a:rPr>
              <a:t>Государственная организация, которая занимается</a:t>
            </a:r>
          </a:p>
          <a:p>
            <a:pPr defTabSz="944767"/>
            <a:r>
              <a:rPr lang="ru-RU" sz="2000" dirty="0" smtClean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</a:rPr>
              <a:t>развитием </a:t>
            </a:r>
            <a:r>
              <a:rPr lang="ru-RU" sz="2000" dirty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</a:rPr>
              <a:t>малого и среднего </a:t>
            </a:r>
            <a:r>
              <a:rPr lang="ru-RU" sz="2000" dirty="0" smtClean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</a:rPr>
              <a:t>бизнеса</a:t>
            </a:r>
            <a:endParaRPr lang="ru-RU" sz="2000" dirty="0">
              <a:latin typeface="PT Root UI Medium" panose="020B0503020202020204" pitchFamily="34" charset="-52"/>
              <a:ea typeface="PT Root UI Medium" panose="020B0503020202020204" pitchFamily="34" charset="-52"/>
              <a:cs typeface="Segoe UI Semibold" panose="020B0702040204020203" pitchFamily="34" charset="0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0" y="-2743"/>
            <a:ext cx="12192000" cy="964332"/>
          </a:xfrm>
          <a:prstGeom prst="rect">
            <a:avLst/>
          </a:prstGeom>
          <a:gradFill>
            <a:gsLst>
              <a:gs pos="0">
                <a:srgbClr val="50CDFF">
                  <a:alpha val="26667"/>
                </a:srgb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47" name="Слайд think-cell" r:id="rId5" imgW="347" imgH="348" progId="TCLayout.ActiveDocument.1">
                  <p:embed/>
                </p:oleObj>
              </mc:Choice>
              <mc:Fallback>
                <p:oleObj name="Слайд think-cell" r:id="rId5" imgW="347" imgH="348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5" name="Рисунок 84"/>
          <p:cNvPicPr>
            <a:picLocks noChangeAspect="1"/>
          </p:cNvPicPr>
          <p:nvPr/>
        </p:nvPicPr>
        <p:blipFill rotWithShape="1">
          <a:blip r:embed="rId7"/>
          <a:srcRect t="14756" b="11399"/>
          <a:stretch/>
        </p:blipFill>
        <p:spPr>
          <a:xfrm>
            <a:off x="1117758" y="4453138"/>
            <a:ext cx="1537906" cy="775074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E01591F-888E-9B52-8DD8-FDF696844671}"/>
              </a:ext>
            </a:extLst>
          </p:cNvPr>
          <p:cNvCxnSpPr>
            <a:cxnSpLocks/>
          </p:cNvCxnSpPr>
          <p:nvPr/>
        </p:nvCxnSpPr>
        <p:spPr>
          <a:xfrm>
            <a:off x="583364" y="3048000"/>
            <a:ext cx="0" cy="2895600"/>
          </a:xfrm>
          <a:prstGeom prst="line">
            <a:avLst/>
          </a:prstGeom>
          <a:ln w="12700">
            <a:solidFill>
              <a:srgbClr val="19191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Рисунок 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9870" y="3436829"/>
            <a:ext cx="1872369" cy="417170"/>
          </a:xfrm>
          <a:prstGeom prst="rect">
            <a:avLst/>
          </a:prstGeom>
        </p:spPr>
      </p:pic>
      <p:pic>
        <p:nvPicPr>
          <p:cNvPr id="16" name="Рисунок 61">
            <a:extLst>
              <a:ext uri="{FF2B5EF4-FFF2-40B4-BE49-F238E27FC236}">
                <a16:creationId xmlns:a16="http://schemas.microsoft.com/office/drawing/2014/main" id="{ED2A8417-2BC5-887B-EC92-40F89A41BEFB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01479" y="476250"/>
            <a:ext cx="572813" cy="299463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2445E710-F96D-300F-0374-6E276D7CB429}"/>
              </a:ext>
            </a:extLst>
          </p:cNvPr>
          <p:cNvSpPr txBox="1"/>
          <p:nvPr/>
        </p:nvSpPr>
        <p:spPr>
          <a:xfrm>
            <a:off x="382477" y="354556"/>
            <a:ext cx="1054875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44767"/>
            <a:r>
              <a:rPr lang="ru-RU" sz="28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Корпорация МСП и ее задачи</a:t>
            </a:r>
            <a:endParaRPr lang="ru-RU" sz="2800" b="1" dirty="0"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pic>
        <p:nvPicPr>
          <p:cNvPr id="18" name="Рисунок 57">
            <a:extLst>
              <a:ext uri="{FF2B5EF4-FFF2-40B4-BE49-F238E27FC236}">
                <a16:creationId xmlns:a16="http://schemas.microsoft.com/office/drawing/2014/main" id="{B09A6947-A8A5-2D52-4E52-307D97028F15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0246" y="1973392"/>
            <a:ext cx="1812694" cy="947665"/>
          </a:xfrm>
          <a:prstGeom prst="rect">
            <a:avLst/>
          </a:prstGeom>
        </p:spPr>
      </p:pic>
      <p:grpSp>
        <p:nvGrpSpPr>
          <p:cNvPr id="42" name="Группа 41"/>
          <p:cNvGrpSpPr/>
          <p:nvPr/>
        </p:nvGrpSpPr>
        <p:grpSpPr>
          <a:xfrm>
            <a:off x="583364" y="3667760"/>
            <a:ext cx="360065" cy="2275840"/>
            <a:chOff x="583364" y="3667760"/>
            <a:chExt cx="574876" cy="2275840"/>
          </a:xfrm>
        </p:grpSpPr>
        <p:cxnSp>
          <p:nvCxnSpPr>
            <p:cNvPr id="20" name="Straight Connector 8">
              <a:extLst>
                <a:ext uri="{FF2B5EF4-FFF2-40B4-BE49-F238E27FC236}">
                  <a16:creationId xmlns:a16="http://schemas.microsoft.com/office/drawing/2014/main" id="{8E01591F-888E-9B52-8DD8-FDF69684467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3364" y="3667760"/>
              <a:ext cx="574876" cy="0"/>
            </a:xfrm>
            <a:prstGeom prst="line">
              <a:avLst/>
            </a:prstGeom>
            <a:ln w="12700">
              <a:solidFill>
                <a:srgbClr val="19191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8">
              <a:extLst>
                <a:ext uri="{FF2B5EF4-FFF2-40B4-BE49-F238E27FC236}">
                  <a16:creationId xmlns:a16="http://schemas.microsoft.com/office/drawing/2014/main" id="{8E01591F-888E-9B52-8DD8-FDF69684467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3364" y="4836160"/>
              <a:ext cx="574876" cy="0"/>
            </a:xfrm>
            <a:prstGeom prst="line">
              <a:avLst/>
            </a:prstGeom>
            <a:ln w="12700">
              <a:solidFill>
                <a:srgbClr val="19191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8">
              <a:extLst>
                <a:ext uri="{FF2B5EF4-FFF2-40B4-BE49-F238E27FC236}">
                  <a16:creationId xmlns:a16="http://schemas.microsoft.com/office/drawing/2014/main" id="{8E01591F-888E-9B52-8DD8-FDF69684467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3364" y="5943600"/>
              <a:ext cx="574876" cy="0"/>
            </a:xfrm>
            <a:prstGeom prst="line">
              <a:avLst/>
            </a:prstGeom>
            <a:ln w="12700">
              <a:solidFill>
                <a:srgbClr val="19191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C9222AA0-91F1-6535-6DC9-2E950AD586C3}"/>
              </a:ext>
            </a:extLst>
          </p:cNvPr>
          <p:cNvSpPr txBox="1"/>
          <p:nvPr/>
        </p:nvSpPr>
        <p:spPr>
          <a:xfrm>
            <a:off x="4952280" y="2916126"/>
            <a:ext cx="250373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</a:rPr>
              <a:t>Получить льготные кредиты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0CAF4081-368C-2399-B4C3-EF05AB4EFF14}"/>
              </a:ext>
            </a:extLst>
          </p:cNvPr>
          <p:cNvSpPr txBox="1"/>
          <p:nvPr/>
        </p:nvSpPr>
        <p:spPr>
          <a:xfrm>
            <a:off x="4952280" y="5556061"/>
            <a:ext cx="250373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2786">
              <a:buClr>
                <a:srgbClr val="84E0F7"/>
              </a:buClr>
              <a:buSzPct val="150000"/>
              <a:defRPr/>
            </a:pPr>
            <a:r>
              <a:rPr lang="ru-RU" dirty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</a:rPr>
              <a:t>Разобраться </a:t>
            </a:r>
          </a:p>
          <a:p>
            <a:pPr marR="2786">
              <a:buClr>
                <a:srgbClr val="84E0F7"/>
              </a:buClr>
              <a:buSzPct val="150000"/>
              <a:defRPr/>
            </a:pPr>
            <a:r>
              <a:rPr lang="ru-RU" dirty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</a:rPr>
              <a:t>в требованиях банков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1FB25BA-825D-78E1-CB88-B71678338ECB}"/>
              </a:ext>
            </a:extLst>
          </p:cNvPr>
          <p:cNvSpPr txBox="1"/>
          <p:nvPr/>
        </p:nvSpPr>
        <p:spPr>
          <a:xfrm>
            <a:off x="4952280" y="4256660"/>
            <a:ext cx="2695696" cy="6976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2786">
              <a:spcBef>
                <a:spcPts val="361"/>
              </a:spcBef>
              <a:buClr>
                <a:srgbClr val="84E0F7"/>
              </a:buClr>
              <a:buSzPct val="150000"/>
              <a:defRPr/>
            </a:pPr>
            <a:r>
              <a:rPr lang="ru-RU" dirty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</a:rPr>
              <a:t>Получить </a:t>
            </a:r>
            <a:r>
              <a:rPr lang="ru-RU" dirty="0" smtClean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</a:rPr>
              <a:t>обеспечение</a:t>
            </a:r>
          </a:p>
          <a:p>
            <a:pPr marR="2786">
              <a:spcBef>
                <a:spcPts val="361"/>
              </a:spcBef>
              <a:buClr>
                <a:srgbClr val="84E0F7"/>
              </a:buClr>
              <a:buSzPct val="150000"/>
              <a:defRPr/>
            </a:pPr>
            <a:r>
              <a:rPr lang="ru-RU" dirty="0" smtClean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</a:rPr>
              <a:t>для займа</a:t>
            </a:r>
            <a:endParaRPr lang="ru-RU" dirty="0">
              <a:latin typeface="PT Root UI Medium" panose="020B0503020202020204" pitchFamily="34" charset="-52"/>
              <a:ea typeface="PT Root UI Medium" panose="020B0503020202020204" pitchFamily="34" charset="-52"/>
              <a:cs typeface="Segoe UI Semibold" panose="020B0702040204020203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7D9868FC-E216-73E0-D346-74D6F5B2B3C3}"/>
              </a:ext>
            </a:extLst>
          </p:cNvPr>
          <p:cNvSpPr txBox="1"/>
          <p:nvPr/>
        </p:nvSpPr>
        <p:spPr>
          <a:xfrm>
            <a:off x="8204918" y="2916126"/>
            <a:ext cx="250373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2786">
              <a:spcBef>
                <a:spcPts val="361"/>
              </a:spcBef>
              <a:buClr>
                <a:srgbClr val="84E0F7"/>
              </a:buClr>
              <a:buSzPct val="150000"/>
              <a:defRPr/>
            </a:pPr>
            <a:r>
              <a:rPr lang="ru-RU" dirty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</a:rPr>
              <a:t>Взять в льготный лизинг оборудование 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CE81A86A-A923-FD1B-551F-F95E2D755A2F}"/>
              </a:ext>
            </a:extLst>
          </p:cNvPr>
          <p:cNvSpPr txBox="1"/>
          <p:nvPr/>
        </p:nvSpPr>
        <p:spPr>
          <a:xfrm>
            <a:off x="8204918" y="4256659"/>
            <a:ext cx="250373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5080">
              <a:spcAft>
                <a:spcPts val="600"/>
              </a:spcAft>
            </a:pPr>
            <a:r>
              <a:rPr lang="ru-RU" dirty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</a:rPr>
              <a:t>Найти новые рынки сбыта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375889E7-8CDD-8453-0A07-33B16C160A37}"/>
              </a:ext>
            </a:extLst>
          </p:cNvPr>
          <p:cNvSpPr txBox="1"/>
          <p:nvPr/>
        </p:nvSpPr>
        <p:spPr>
          <a:xfrm>
            <a:off x="8204918" y="5556062"/>
            <a:ext cx="272631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</a:rPr>
              <a:t>Решить локальные </a:t>
            </a:r>
          </a:p>
          <a:p>
            <a:r>
              <a:rPr lang="ru-RU" dirty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</a:rPr>
              <a:t>и системные проблемы</a:t>
            </a:r>
          </a:p>
        </p:txBody>
      </p:sp>
      <p:cxnSp>
        <p:nvCxnSpPr>
          <p:cNvPr id="36" name="Straight Connector 8">
            <a:extLst>
              <a:ext uri="{FF2B5EF4-FFF2-40B4-BE49-F238E27FC236}">
                <a16:creationId xmlns:a16="http://schemas.microsoft.com/office/drawing/2014/main" id="{8E01591F-888E-9B52-8DD8-FDF696844671}"/>
              </a:ext>
            </a:extLst>
          </p:cNvPr>
          <p:cNvCxnSpPr>
            <a:cxnSpLocks/>
          </p:cNvCxnSpPr>
          <p:nvPr/>
        </p:nvCxnSpPr>
        <p:spPr>
          <a:xfrm flipH="1">
            <a:off x="4901539" y="2975610"/>
            <a:ext cx="1" cy="501015"/>
          </a:xfrm>
          <a:prstGeom prst="line">
            <a:avLst/>
          </a:prstGeom>
          <a:ln w="12700">
            <a:solidFill>
              <a:srgbClr val="19191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C9222AA0-91F1-6535-6DC9-2E950AD586C3}"/>
              </a:ext>
            </a:extLst>
          </p:cNvPr>
          <p:cNvSpPr txBox="1"/>
          <p:nvPr/>
        </p:nvSpPr>
        <p:spPr>
          <a:xfrm>
            <a:off x="4323409" y="2908481"/>
            <a:ext cx="5781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2400" dirty="0" smtClean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</a:rPr>
              <a:t>1</a:t>
            </a:r>
            <a:endParaRPr lang="ru-RU" sz="2400" dirty="0">
              <a:latin typeface="PT Root UI Medium" panose="020B0503020202020204" pitchFamily="34" charset="-52"/>
              <a:ea typeface="PT Root UI Medium" panose="020B0503020202020204" pitchFamily="34" charset="-52"/>
              <a:cs typeface="Segoe UI Semibold" panose="020B0702040204020203" pitchFamily="34" charset="0"/>
            </a:endParaRPr>
          </a:p>
        </p:txBody>
      </p:sp>
      <p:cxnSp>
        <p:nvCxnSpPr>
          <p:cNvPr id="43" name="Straight Connector 8">
            <a:extLst>
              <a:ext uri="{FF2B5EF4-FFF2-40B4-BE49-F238E27FC236}">
                <a16:creationId xmlns:a16="http://schemas.microsoft.com/office/drawing/2014/main" id="{8E01591F-888E-9B52-8DD8-FDF696844671}"/>
              </a:ext>
            </a:extLst>
          </p:cNvPr>
          <p:cNvCxnSpPr>
            <a:cxnSpLocks/>
          </p:cNvCxnSpPr>
          <p:nvPr/>
        </p:nvCxnSpPr>
        <p:spPr>
          <a:xfrm flipH="1">
            <a:off x="4901539" y="4323788"/>
            <a:ext cx="1" cy="501015"/>
          </a:xfrm>
          <a:prstGeom prst="line">
            <a:avLst/>
          </a:prstGeom>
          <a:ln w="12700">
            <a:solidFill>
              <a:srgbClr val="19191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>
            <a:extLst>
              <a:ext uri="{FF2B5EF4-FFF2-40B4-BE49-F238E27FC236}">
                <a16:creationId xmlns:a16="http://schemas.microsoft.com/office/drawing/2014/main" id="{C9222AA0-91F1-6535-6DC9-2E950AD586C3}"/>
              </a:ext>
            </a:extLst>
          </p:cNvPr>
          <p:cNvSpPr txBox="1"/>
          <p:nvPr/>
        </p:nvSpPr>
        <p:spPr>
          <a:xfrm>
            <a:off x="4323409" y="4256659"/>
            <a:ext cx="5781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2400" dirty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</a:rPr>
              <a:t>2</a:t>
            </a:r>
          </a:p>
        </p:txBody>
      </p:sp>
      <p:cxnSp>
        <p:nvCxnSpPr>
          <p:cNvPr id="45" name="Straight Connector 8">
            <a:extLst>
              <a:ext uri="{FF2B5EF4-FFF2-40B4-BE49-F238E27FC236}">
                <a16:creationId xmlns:a16="http://schemas.microsoft.com/office/drawing/2014/main" id="{8E01591F-888E-9B52-8DD8-FDF696844671}"/>
              </a:ext>
            </a:extLst>
          </p:cNvPr>
          <p:cNvCxnSpPr>
            <a:cxnSpLocks/>
          </p:cNvCxnSpPr>
          <p:nvPr/>
        </p:nvCxnSpPr>
        <p:spPr>
          <a:xfrm flipH="1">
            <a:off x="4901539" y="5671966"/>
            <a:ext cx="1" cy="501015"/>
          </a:xfrm>
          <a:prstGeom prst="line">
            <a:avLst/>
          </a:prstGeom>
          <a:ln w="12700">
            <a:solidFill>
              <a:srgbClr val="19191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>
            <a:extLst>
              <a:ext uri="{FF2B5EF4-FFF2-40B4-BE49-F238E27FC236}">
                <a16:creationId xmlns:a16="http://schemas.microsoft.com/office/drawing/2014/main" id="{C9222AA0-91F1-6535-6DC9-2E950AD586C3}"/>
              </a:ext>
            </a:extLst>
          </p:cNvPr>
          <p:cNvSpPr txBox="1"/>
          <p:nvPr/>
        </p:nvSpPr>
        <p:spPr>
          <a:xfrm>
            <a:off x="4323409" y="5604837"/>
            <a:ext cx="5781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2400" dirty="0" smtClean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</a:rPr>
              <a:t>3</a:t>
            </a:r>
            <a:endParaRPr lang="ru-RU" sz="2400" dirty="0">
              <a:latin typeface="PT Root UI Medium" panose="020B0503020202020204" pitchFamily="34" charset="-52"/>
              <a:ea typeface="PT Root UI Medium" panose="020B0503020202020204" pitchFamily="34" charset="-52"/>
              <a:cs typeface="Segoe UI Semibold" panose="020B0702040204020203" pitchFamily="34" charset="0"/>
            </a:endParaRPr>
          </a:p>
        </p:txBody>
      </p:sp>
      <p:cxnSp>
        <p:nvCxnSpPr>
          <p:cNvPr id="47" name="Straight Connector 8">
            <a:extLst>
              <a:ext uri="{FF2B5EF4-FFF2-40B4-BE49-F238E27FC236}">
                <a16:creationId xmlns:a16="http://schemas.microsoft.com/office/drawing/2014/main" id="{8E01591F-888E-9B52-8DD8-FDF696844671}"/>
              </a:ext>
            </a:extLst>
          </p:cNvPr>
          <p:cNvCxnSpPr>
            <a:cxnSpLocks/>
          </p:cNvCxnSpPr>
          <p:nvPr/>
        </p:nvCxnSpPr>
        <p:spPr>
          <a:xfrm flipH="1">
            <a:off x="8182369" y="2975610"/>
            <a:ext cx="1" cy="501015"/>
          </a:xfrm>
          <a:prstGeom prst="line">
            <a:avLst/>
          </a:prstGeom>
          <a:ln w="12700">
            <a:solidFill>
              <a:srgbClr val="19191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47">
            <a:extLst>
              <a:ext uri="{FF2B5EF4-FFF2-40B4-BE49-F238E27FC236}">
                <a16:creationId xmlns:a16="http://schemas.microsoft.com/office/drawing/2014/main" id="{C9222AA0-91F1-6535-6DC9-2E950AD586C3}"/>
              </a:ext>
            </a:extLst>
          </p:cNvPr>
          <p:cNvSpPr txBox="1"/>
          <p:nvPr/>
        </p:nvSpPr>
        <p:spPr>
          <a:xfrm>
            <a:off x="7604239" y="2908481"/>
            <a:ext cx="5781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2400" dirty="0" smtClean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</a:rPr>
              <a:t>4</a:t>
            </a:r>
            <a:endParaRPr lang="ru-RU" sz="2400" dirty="0">
              <a:latin typeface="PT Root UI Medium" panose="020B0503020202020204" pitchFamily="34" charset="-52"/>
              <a:ea typeface="PT Root UI Medium" panose="020B0503020202020204" pitchFamily="34" charset="-52"/>
              <a:cs typeface="Segoe UI Semibold" panose="020B0702040204020203" pitchFamily="34" charset="0"/>
            </a:endParaRPr>
          </a:p>
        </p:txBody>
      </p:sp>
      <p:cxnSp>
        <p:nvCxnSpPr>
          <p:cNvPr id="49" name="Straight Connector 8">
            <a:extLst>
              <a:ext uri="{FF2B5EF4-FFF2-40B4-BE49-F238E27FC236}">
                <a16:creationId xmlns:a16="http://schemas.microsoft.com/office/drawing/2014/main" id="{8E01591F-888E-9B52-8DD8-FDF696844671}"/>
              </a:ext>
            </a:extLst>
          </p:cNvPr>
          <p:cNvCxnSpPr>
            <a:cxnSpLocks/>
          </p:cNvCxnSpPr>
          <p:nvPr/>
        </p:nvCxnSpPr>
        <p:spPr>
          <a:xfrm flipH="1">
            <a:off x="8182369" y="4323788"/>
            <a:ext cx="1" cy="501015"/>
          </a:xfrm>
          <a:prstGeom prst="line">
            <a:avLst/>
          </a:prstGeom>
          <a:ln w="12700">
            <a:solidFill>
              <a:srgbClr val="19191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49">
            <a:extLst>
              <a:ext uri="{FF2B5EF4-FFF2-40B4-BE49-F238E27FC236}">
                <a16:creationId xmlns:a16="http://schemas.microsoft.com/office/drawing/2014/main" id="{C9222AA0-91F1-6535-6DC9-2E950AD586C3}"/>
              </a:ext>
            </a:extLst>
          </p:cNvPr>
          <p:cNvSpPr txBox="1"/>
          <p:nvPr/>
        </p:nvSpPr>
        <p:spPr>
          <a:xfrm>
            <a:off x="7604239" y="4256659"/>
            <a:ext cx="5781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2400" dirty="0" smtClean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</a:rPr>
              <a:t>5</a:t>
            </a:r>
            <a:endParaRPr lang="ru-RU" sz="2400" dirty="0">
              <a:latin typeface="PT Root UI Medium" panose="020B0503020202020204" pitchFamily="34" charset="-52"/>
              <a:ea typeface="PT Root UI Medium" panose="020B0503020202020204" pitchFamily="34" charset="-52"/>
              <a:cs typeface="Segoe UI Semibold" panose="020B0702040204020203" pitchFamily="34" charset="0"/>
            </a:endParaRPr>
          </a:p>
        </p:txBody>
      </p:sp>
      <p:cxnSp>
        <p:nvCxnSpPr>
          <p:cNvPr id="51" name="Straight Connector 8">
            <a:extLst>
              <a:ext uri="{FF2B5EF4-FFF2-40B4-BE49-F238E27FC236}">
                <a16:creationId xmlns:a16="http://schemas.microsoft.com/office/drawing/2014/main" id="{8E01591F-888E-9B52-8DD8-FDF696844671}"/>
              </a:ext>
            </a:extLst>
          </p:cNvPr>
          <p:cNvCxnSpPr>
            <a:cxnSpLocks/>
          </p:cNvCxnSpPr>
          <p:nvPr/>
        </p:nvCxnSpPr>
        <p:spPr>
          <a:xfrm flipH="1">
            <a:off x="8182369" y="5671966"/>
            <a:ext cx="1" cy="501015"/>
          </a:xfrm>
          <a:prstGeom prst="line">
            <a:avLst/>
          </a:prstGeom>
          <a:ln w="12700">
            <a:solidFill>
              <a:srgbClr val="19191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51">
            <a:extLst>
              <a:ext uri="{FF2B5EF4-FFF2-40B4-BE49-F238E27FC236}">
                <a16:creationId xmlns:a16="http://schemas.microsoft.com/office/drawing/2014/main" id="{C9222AA0-91F1-6535-6DC9-2E950AD586C3}"/>
              </a:ext>
            </a:extLst>
          </p:cNvPr>
          <p:cNvSpPr txBox="1"/>
          <p:nvPr/>
        </p:nvSpPr>
        <p:spPr>
          <a:xfrm>
            <a:off x="7604239" y="5604837"/>
            <a:ext cx="5781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2400" dirty="0" smtClean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</a:rPr>
              <a:t>6</a:t>
            </a:r>
            <a:endParaRPr lang="ru-RU" sz="2400" dirty="0">
              <a:latin typeface="PT Root UI Medium" panose="020B0503020202020204" pitchFamily="34" charset="-52"/>
              <a:ea typeface="PT Root UI Medium" panose="020B0503020202020204" pitchFamily="34" charset="-52"/>
              <a:cs typeface="Segoe UI Semibold" panose="020B0702040204020203" pitchFamily="34" charset="0"/>
            </a:endParaRPr>
          </a:p>
        </p:txBody>
      </p:sp>
      <p:pic>
        <p:nvPicPr>
          <p:cNvPr id="53" name="Рисунок 52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4491" y="5681260"/>
            <a:ext cx="2041455" cy="216618"/>
          </a:xfrm>
          <a:prstGeom prst="rect">
            <a:avLst/>
          </a:prstGeom>
        </p:spPr>
      </p:pic>
      <p:sp>
        <p:nvSpPr>
          <p:cNvPr id="56" name="Скругленный прямоугольник 55"/>
          <p:cNvSpPr/>
          <p:nvPr/>
        </p:nvSpPr>
        <p:spPr>
          <a:xfrm>
            <a:off x="943429" y="5410685"/>
            <a:ext cx="3405908" cy="946300"/>
          </a:xfrm>
          <a:prstGeom prst="roundRect">
            <a:avLst>
              <a:gd name="adj" fmla="val 13704"/>
            </a:avLst>
          </a:prstGeom>
          <a:noFill/>
          <a:ln>
            <a:solidFill>
              <a:srgbClr val="50CD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4" name="Прямоугольник 53"/>
          <p:cNvSpPr/>
          <p:nvPr/>
        </p:nvSpPr>
        <p:spPr>
          <a:xfrm>
            <a:off x="1024769" y="5988493"/>
            <a:ext cx="322428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1400" dirty="0" smtClean="0">
                <a:solidFill>
                  <a:srgbClr val="50CDFF"/>
                </a:solidFill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</a:rPr>
              <a:t>все </a:t>
            </a:r>
            <a:r>
              <a:rPr lang="ru-RU" sz="1400" dirty="0">
                <a:solidFill>
                  <a:srgbClr val="50CDFF"/>
                </a:solidFill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</a:rPr>
              <a:t>меры поддержки в одном месте 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6513991" y="1231339"/>
            <a:ext cx="4194659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1" algn="r"/>
            <a:r>
              <a:rPr lang="ru-RU" sz="1400" spc="7" dirty="0" smtClean="0">
                <a:latin typeface="PT Root UI" panose="020B0303020202020204" pitchFamily="34" charset="-52"/>
                <a:ea typeface="PT Root UI" panose="020B0303020202020204" pitchFamily="34" charset="-52"/>
                <a:cs typeface="Segoe UI" panose="020B0502040204020203" pitchFamily="34" charset="0"/>
              </a:rPr>
              <a:t>ЕДИНЫЙ РЕЕСТР</a:t>
            </a:r>
          </a:p>
          <a:p>
            <a:pPr lvl="1" algn="r"/>
            <a:r>
              <a:rPr lang="ru-RU" sz="1400" spc="7" dirty="0" smtClean="0">
                <a:latin typeface="PT Root UI" panose="020B0303020202020204" pitchFamily="34" charset="-52"/>
                <a:ea typeface="PT Root UI" panose="020B0303020202020204" pitchFamily="34" charset="-52"/>
                <a:cs typeface="Segoe UI" panose="020B0502040204020203" pitchFamily="34" charset="0"/>
              </a:rPr>
              <a:t>СУБЪЕКТОВ МАЛОГО И СРЕДНЕГО ПРЕДПРИНИМАТЕЛЬСТВА</a:t>
            </a:r>
          </a:p>
          <a:p>
            <a:pPr lvl="1" algn="r"/>
            <a:r>
              <a:rPr lang="ru-RU" sz="1400" spc="7" dirty="0" smtClean="0">
                <a:latin typeface="PT Root UI" panose="020B0303020202020204" pitchFamily="34" charset="-52"/>
                <a:ea typeface="PT Root UI" panose="020B0303020202020204" pitchFamily="34" charset="-52"/>
                <a:cs typeface="Segoe UI" panose="020B0502040204020203" pitchFamily="34" charset="0"/>
              </a:rPr>
              <a:t>ФНС РОССИИ</a:t>
            </a:r>
            <a:endParaRPr lang="ru-RU" sz="1400" spc="7" dirty="0">
              <a:latin typeface="PT Root UI" panose="020B0303020202020204" pitchFamily="34" charset="-52"/>
              <a:ea typeface="PT Root UI" panose="020B0303020202020204" pitchFamily="34" charset="-52"/>
              <a:cs typeface="Segoe UI" panose="020B0502040204020203" pitchFamily="34" charset="0"/>
            </a:endParaRPr>
          </a:p>
        </p:txBody>
      </p:sp>
      <p:pic>
        <p:nvPicPr>
          <p:cNvPr id="57" name="Picture 24" descr="http://qrcoder.ru/code/?https%3A%2F%2Frmsp.nalog.ru%2Fsearch.html&amp;4&amp;0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08650" y="1033474"/>
            <a:ext cx="1260000" cy="12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4861230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Прямоугольник 29"/>
          <p:cNvSpPr/>
          <p:nvPr/>
        </p:nvSpPr>
        <p:spPr>
          <a:xfrm>
            <a:off x="530755" y="4267409"/>
            <a:ext cx="3333863" cy="71120"/>
          </a:xfrm>
          <a:prstGeom prst="rect">
            <a:avLst/>
          </a:prstGeom>
          <a:solidFill>
            <a:srgbClr val="FFD6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Прямоугольник 38">
            <a:extLst>
              <a:ext uri="{FF2B5EF4-FFF2-40B4-BE49-F238E27FC236}">
                <a16:creationId xmlns:a16="http://schemas.microsoft.com/office/drawing/2014/main" id="{D8FF1E59-0782-5A01-2FF4-8C48E1710F5D}"/>
              </a:ext>
            </a:extLst>
          </p:cNvPr>
          <p:cNvSpPr/>
          <p:nvPr/>
        </p:nvSpPr>
        <p:spPr>
          <a:xfrm>
            <a:off x="432618" y="4024131"/>
            <a:ext cx="357930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44767">
              <a:defRPr/>
            </a:pPr>
            <a:r>
              <a:rPr lang="ru-RU" sz="2000" dirty="0" smtClean="0">
                <a:latin typeface="PT Root UI Bold" panose="020B0603020202020204" pitchFamily="34" charset="-52"/>
                <a:ea typeface="PT Root UI Bold" panose="020B0603020202020204" pitchFamily="34" charset="-52"/>
                <a:cs typeface="Segoe UI Semibold" panose="020B0702040204020203" pitchFamily="34" charset="0"/>
              </a:rPr>
              <a:t>Что полезного для бизнеса?</a:t>
            </a:r>
            <a:endParaRPr lang="ru-RU" sz="2000" dirty="0">
              <a:latin typeface="PT Root UI Bold" panose="020B0603020202020204" pitchFamily="34" charset="-52"/>
              <a:ea typeface="PT Root UI Bold" panose="020B0603020202020204" pitchFamily="34" charset="-52"/>
              <a:cs typeface="Segoe UI Semibold" panose="020B0702040204020203" pitchFamily="34" charset="0"/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430353" y="1353532"/>
            <a:ext cx="3412985" cy="71120"/>
          </a:xfrm>
          <a:prstGeom prst="rect">
            <a:avLst/>
          </a:prstGeom>
          <a:solidFill>
            <a:srgbClr val="FFD6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Прямоугольник 33"/>
          <p:cNvSpPr/>
          <p:nvPr/>
        </p:nvSpPr>
        <p:spPr>
          <a:xfrm>
            <a:off x="0" y="-2743"/>
            <a:ext cx="12192000" cy="964332"/>
          </a:xfrm>
          <a:prstGeom prst="rect">
            <a:avLst/>
          </a:prstGeom>
          <a:gradFill>
            <a:gsLst>
              <a:gs pos="0">
                <a:srgbClr val="9165E8"/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DBCDC99-EB7A-D1E9-2199-D1459C434493}"/>
              </a:ext>
            </a:extLst>
          </p:cNvPr>
          <p:cNvSpPr txBox="1"/>
          <p:nvPr/>
        </p:nvSpPr>
        <p:spPr>
          <a:xfrm>
            <a:off x="382478" y="354556"/>
            <a:ext cx="5705823" cy="549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2786" lvl="0">
              <a:lnSpc>
                <a:spcPts val="3800"/>
              </a:lnSpc>
              <a:defRPr/>
            </a:pPr>
            <a:r>
              <a:rPr lang="ru-RU" sz="2800" b="1" dirty="0">
                <a:solidFill>
                  <a:prstClr val="black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Цифровая платформа </a:t>
            </a:r>
            <a:r>
              <a:rPr lang="ru-RU" sz="2800" b="1" u="sng" dirty="0">
                <a:solidFill>
                  <a:srgbClr val="9165E8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МСП.РФ</a:t>
            </a:r>
          </a:p>
        </p:txBody>
      </p:sp>
      <p:sp>
        <p:nvSpPr>
          <p:cNvPr id="36" name="Прямоугольник 3">
            <a:extLst>
              <a:ext uri="{FF2B5EF4-FFF2-40B4-BE49-F238E27FC236}">
                <a16:creationId xmlns:a16="http://schemas.microsoft.com/office/drawing/2014/main" id="{90CDCDC8-CA20-6EDC-8908-1A78D795D968}"/>
              </a:ext>
            </a:extLst>
          </p:cNvPr>
          <p:cNvSpPr/>
          <p:nvPr/>
        </p:nvSpPr>
        <p:spPr>
          <a:xfrm>
            <a:off x="419306" y="2230484"/>
            <a:ext cx="3028593" cy="5355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ru-RU" sz="3200" dirty="0" smtClean="0">
                <a:solidFill>
                  <a:srgbClr val="9165E8"/>
                </a:solidFill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</a:rPr>
              <a:t>6 080 000</a:t>
            </a:r>
            <a:endParaRPr lang="ru-RU" sz="3200" dirty="0">
              <a:solidFill>
                <a:srgbClr val="9165E8"/>
              </a:solidFill>
              <a:latin typeface="PT Root UI Medium" panose="020B0503020202020204" pitchFamily="34" charset="-52"/>
              <a:ea typeface="PT Root UI Medium" panose="020B0503020202020204" pitchFamily="34" charset="-52"/>
              <a:cs typeface="Segoe UI Semibold" panose="020B0702040204020203" pitchFamily="34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F1DE2E59-EBCC-78BC-68CE-12ECE8D17D37}"/>
              </a:ext>
            </a:extLst>
          </p:cNvPr>
          <p:cNvSpPr txBox="1"/>
          <p:nvPr/>
        </p:nvSpPr>
        <p:spPr>
          <a:xfrm>
            <a:off x="419308" y="2635830"/>
            <a:ext cx="2836816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400" dirty="0" smtClean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</a:rPr>
              <a:t>использований сервисов</a:t>
            </a:r>
            <a:br>
              <a:rPr lang="ru-RU" sz="1400" dirty="0" smtClean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</a:rPr>
            </a:br>
            <a:r>
              <a:rPr lang="ru-RU" sz="1400" dirty="0" smtClean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</a:rPr>
              <a:t>и обращений к </a:t>
            </a:r>
            <a:r>
              <a:rPr lang="ru-RU" sz="1400" dirty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</a:rPr>
              <a:t>мерам поддержки</a:t>
            </a:r>
          </a:p>
        </p:txBody>
      </p:sp>
      <p:sp>
        <p:nvSpPr>
          <p:cNvPr id="38" name="Прямоугольник 3">
            <a:extLst>
              <a:ext uri="{FF2B5EF4-FFF2-40B4-BE49-F238E27FC236}">
                <a16:creationId xmlns:a16="http://schemas.microsoft.com/office/drawing/2014/main" id="{66DAFA54-0B11-F75D-6437-C831898A9D61}"/>
              </a:ext>
            </a:extLst>
          </p:cNvPr>
          <p:cNvSpPr/>
          <p:nvPr/>
        </p:nvSpPr>
        <p:spPr>
          <a:xfrm>
            <a:off x="2892450" y="2229881"/>
            <a:ext cx="2274897" cy="5355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ru-RU" sz="3200" dirty="0" smtClean="0">
                <a:solidFill>
                  <a:srgbClr val="9165E8"/>
                </a:solidFill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</a:rPr>
              <a:t>853 000</a:t>
            </a:r>
            <a:endParaRPr lang="ru-RU" sz="3200" dirty="0">
              <a:solidFill>
                <a:srgbClr val="9165E8"/>
              </a:solidFill>
              <a:latin typeface="PT Root UI Medium" panose="020B0503020202020204" pitchFamily="34" charset="-52"/>
              <a:ea typeface="PT Root UI Medium" panose="020B0503020202020204" pitchFamily="34" charset="-52"/>
              <a:cs typeface="Segoe UI Semibold" panose="020B0702040204020203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65F6EFFE-D7A0-C904-9315-69D3C59D8001}"/>
              </a:ext>
            </a:extLst>
          </p:cNvPr>
          <p:cNvSpPr txBox="1"/>
          <p:nvPr/>
        </p:nvSpPr>
        <p:spPr>
          <a:xfrm>
            <a:off x="2892450" y="2642505"/>
            <a:ext cx="21801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400" dirty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</a:rPr>
              <a:t>пользователей</a:t>
            </a:r>
          </a:p>
        </p:txBody>
      </p:sp>
      <p:sp>
        <p:nvSpPr>
          <p:cNvPr id="40" name="Прямоугольник 3">
            <a:extLst>
              <a:ext uri="{FF2B5EF4-FFF2-40B4-BE49-F238E27FC236}">
                <a16:creationId xmlns:a16="http://schemas.microsoft.com/office/drawing/2014/main" id="{53F3644B-507F-F940-ADB2-CF3C98A6BC6B}"/>
              </a:ext>
            </a:extLst>
          </p:cNvPr>
          <p:cNvSpPr/>
          <p:nvPr/>
        </p:nvSpPr>
        <p:spPr>
          <a:xfrm>
            <a:off x="2889604" y="3072151"/>
            <a:ext cx="1825145" cy="5355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ru-RU" sz="3200" dirty="0">
                <a:solidFill>
                  <a:srgbClr val="9165E8"/>
                </a:solidFill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</a:rPr>
              <a:t>30+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730095B9-DA27-E356-6BEE-6C67A88A65A5}"/>
              </a:ext>
            </a:extLst>
          </p:cNvPr>
          <p:cNvSpPr txBox="1"/>
          <p:nvPr/>
        </p:nvSpPr>
        <p:spPr>
          <a:xfrm>
            <a:off x="2883891" y="3463883"/>
            <a:ext cx="225579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400" dirty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</a:rPr>
              <a:t>онлайн-сервисов</a:t>
            </a:r>
          </a:p>
        </p:txBody>
      </p:sp>
      <p:pic>
        <p:nvPicPr>
          <p:cNvPr id="43" name="Рисунок 42"/>
          <p:cNvPicPr>
            <a:picLocks noChangeAspect="1"/>
          </p:cNvPicPr>
          <p:nvPr/>
        </p:nvPicPr>
        <p:blipFill>
          <a:blip r:embed="rId2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64169" y="400028"/>
            <a:ext cx="1210327" cy="428198"/>
          </a:xfrm>
          <a:prstGeom prst="rect">
            <a:avLst/>
          </a:prstGeom>
        </p:spPr>
      </p:pic>
      <p:pic>
        <p:nvPicPr>
          <p:cNvPr id="44" name="Рисунок 43">
            <a:extLst>
              <a:ext uri="{FF2B5EF4-FFF2-40B4-BE49-F238E27FC236}">
                <a16:creationId xmlns:a16="http://schemas.microsoft.com/office/drawing/2014/main" id="{ED2A8417-2BC5-887B-EC92-40F89A41BEF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01479" y="476250"/>
            <a:ext cx="572813" cy="299463"/>
          </a:xfrm>
          <a:prstGeom prst="rect">
            <a:avLst/>
          </a:prstGeom>
        </p:spPr>
      </p:pic>
      <p:pic>
        <p:nvPicPr>
          <p:cNvPr id="50" name="Picture 2">
            <a:extLst>
              <a:ext uri="{FF2B5EF4-FFF2-40B4-BE49-F238E27FC236}">
                <a16:creationId xmlns:a16="http://schemas.microsoft.com/office/drawing/2014/main" id="{67802A11-228E-C31A-34CE-2804C02C45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41750" y="4744004"/>
            <a:ext cx="1476020" cy="14760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" name="TextBox 50">
            <a:extLst>
              <a:ext uri="{FF2B5EF4-FFF2-40B4-BE49-F238E27FC236}">
                <a16:creationId xmlns:a16="http://schemas.microsoft.com/office/drawing/2014/main" id="{2445E710-F96D-300F-0374-6E276D7CB429}"/>
              </a:ext>
            </a:extLst>
          </p:cNvPr>
          <p:cNvSpPr txBox="1"/>
          <p:nvPr/>
        </p:nvSpPr>
        <p:spPr>
          <a:xfrm>
            <a:off x="382478" y="1111083"/>
            <a:ext cx="982832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44767"/>
            <a:r>
              <a:rPr lang="ru-RU" sz="2000" dirty="0" smtClean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</a:rPr>
              <a:t>Государственная </a:t>
            </a:r>
            <a:r>
              <a:rPr lang="ru-RU" sz="2000" dirty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</a:rPr>
              <a:t>платформа поддержки предпринимателей, самозанятых и тех, кто планирует начать свой бизнес</a:t>
            </a:r>
          </a:p>
        </p:txBody>
      </p:sp>
      <p:pic>
        <p:nvPicPr>
          <p:cNvPr id="54" name="Рисунок 53"/>
          <p:cNvPicPr>
            <a:picLocks noChangeAspect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38152" y="518965"/>
            <a:ext cx="1138808" cy="256748"/>
          </a:xfrm>
          <a:prstGeom prst="rect">
            <a:avLst/>
          </a:prstGeom>
        </p:spPr>
      </p:pic>
      <p:sp>
        <p:nvSpPr>
          <p:cNvPr id="55" name="Прямоугольник 54"/>
          <p:cNvSpPr/>
          <p:nvPr/>
        </p:nvSpPr>
        <p:spPr>
          <a:xfrm>
            <a:off x="4868911" y="3514647"/>
            <a:ext cx="2138402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ru-RU" sz="1400" dirty="0">
                <a:solidFill>
                  <a:srgbClr val="9165E8"/>
                </a:solidFill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</a:rPr>
              <a:t>Поддержка</a:t>
            </a:r>
            <a:br>
              <a:rPr lang="ru-RU" sz="1400" dirty="0">
                <a:solidFill>
                  <a:srgbClr val="9165E8"/>
                </a:solidFill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</a:rPr>
            </a:br>
            <a:r>
              <a:rPr lang="ru-RU" sz="1400" dirty="0">
                <a:solidFill>
                  <a:srgbClr val="9165E8"/>
                </a:solidFill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</a:rPr>
              <a:t>на каждой стадии развития бизнеса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16FE5B40-F418-7714-F3A0-41DCDA67E68C}"/>
              </a:ext>
            </a:extLst>
          </p:cNvPr>
          <p:cNvSpPr txBox="1"/>
          <p:nvPr/>
        </p:nvSpPr>
        <p:spPr>
          <a:xfrm>
            <a:off x="986373" y="4641777"/>
            <a:ext cx="448115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2216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50000"/>
              <a:defRPr/>
            </a:pPr>
            <a:r>
              <a:rPr lang="ru-RU" sz="1600" dirty="0" smtClean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</a:rPr>
              <a:t>онлайн-доступ</a:t>
            </a:r>
            <a:r>
              <a:rPr lang="en-US" sz="1600" dirty="0" smtClean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</a:rPr>
              <a:t> </a:t>
            </a:r>
            <a:r>
              <a:rPr lang="ru-RU" sz="1600" dirty="0" smtClean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</a:rPr>
              <a:t>к </a:t>
            </a:r>
            <a:r>
              <a:rPr lang="ru-RU" sz="1600" dirty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</a:rPr>
              <a:t>мерам поддержки бизнеса 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AE1589B7-6A9C-4964-53BA-0F1DC3946053}"/>
              </a:ext>
            </a:extLst>
          </p:cNvPr>
          <p:cNvSpPr txBox="1"/>
          <p:nvPr/>
        </p:nvSpPr>
        <p:spPr>
          <a:xfrm>
            <a:off x="986373" y="5061895"/>
            <a:ext cx="450770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R="2216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50000"/>
              <a:defRPr sz="160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</a:defRPr>
            </a:lvl1pPr>
          </a:lstStyle>
          <a:p>
            <a:pPr>
              <a:defRPr/>
            </a:pPr>
            <a:r>
              <a:rPr lang="ru-RU" dirty="0"/>
              <a:t>к</a:t>
            </a:r>
            <a:r>
              <a:rPr lang="ru-RU" dirty="0" smtClean="0"/>
              <a:t>анал коммуникации</a:t>
            </a:r>
            <a:r>
              <a:rPr lang="en-US" dirty="0" smtClean="0"/>
              <a:t> </a:t>
            </a:r>
            <a:r>
              <a:rPr lang="ru-RU" dirty="0" smtClean="0"/>
              <a:t>бизнеса </a:t>
            </a:r>
            <a:r>
              <a:rPr lang="ru-RU" dirty="0"/>
              <a:t>и государства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5824F8A0-71C3-D57C-2C97-FD03935A1D0D}"/>
              </a:ext>
            </a:extLst>
          </p:cNvPr>
          <p:cNvSpPr txBox="1"/>
          <p:nvPr/>
        </p:nvSpPr>
        <p:spPr>
          <a:xfrm>
            <a:off x="986373" y="5482014"/>
            <a:ext cx="40661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R="2216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50000"/>
              <a:defRPr sz="160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</a:defRPr>
            </a:lvl1pPr>
          </a:lstStyle>
          <a:p>
            <a:pPr>
              <a:defRPr/>
            </a:pPr>
            <a:r>
              <a:rPr lang="ru-RU" dirty="0"/>
              <a:t>п</a:t>
            </a:r>
            <a:r>
              <a:rPr lang="ru-RU" dirty="0" smtClean="0"/>
              <a:t>оиск </a:t>
            </a:r>
            <a:r>
              <a:rPr lang="ru-RU" dirty="0"/>
              <a:t>новых </a:t>
            </a:r>
            <a:r>
              <a:rPr lang="ru-RU" dirty="0" smtClean="0"/>
              <a:t>партнеров</a:t>
            </a:r>
            <a:r>
              <a:rPr lang="en-US" dirty="0" smtClean="0"/>
              <a:t> </a:t>
            </a:r>
            <a:r>
              <a:rPr lang="ru-RU" dirty="0" smtClean="0"/>
              <a:t>и </a:t>
            </a:r>
            <a:r>
              <a:rPr lang="ru-RU" dirty="0"/>
              <a:t>рынков сбыта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99ECFCF2-6895-0656-4E67-7AAF7CD17D8C}"/>
              </a:ext>
            </a:extLst>
          </p:cNvPr>
          <p:cNvSpPr txBox="1"/>
          <p:nvPr/>
        </p:nvSpPr>
        <p:spPr>
          <a:xfrm>
            <a:off x="986373" y="5871710"/>
            <a:ext cx="372126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R="2216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50000"/>
              <a:defRPr sz="160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</a:defRPr>
            </a:lvl1pPr>
          </a:lstStyle>
          <a:p>
            <a:pPr>
              <a:defRPr/>
            </a:pPr>
            <a:r>
              <a:rPr lang="ru-RU" dirty="0"/>
              <a:t>б</a:t>
            </a:r>
            <a:r>
              <a:rPr lang="ru-RU" dirty="0" smtClean="0"/>
              <a:t>изнес-обучение</a:t>
            </a:r>
            <a:r>
              <a:rPr lang="en-US" dirty="0" smtClean="0"/>
              <a:t> </a:t>
            </a:r>
            <a:r>
              <a:rPr lang="ru-RU" dirty="0" smtClean="0"/>
              <a:t>и </a:t>
            </a:r>
            <a:r>
              <a:rPr lang="ru-RU" dirty="0"/>
              <a:t>база знаний</a:t>
            </a:r>
          </a:p>
        </p:txBody>
      </p:sp>
      <p:pic>
        <p:nvPicPr>
          <p:cNvPr id="60" name="Рисунок 5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2056" y="2756467"/>
            <a:ext cx="951408" cy="497389"/>
          </a:xfrm>
          <a:prstGeom prst="rect">
            <a:avLst/>
          </a:prstGeom>
        </p:spPr>
      </p:pic>
      <p:pic>
        <p:nvPicPr>
          <p:cNvPr id="61" name="Рисунок 60"/>
          <p:cNvPicPr>
            <a:picLocks noChangeAspect="1"/>
          </p:cNvPicPr>
          <p:nvPr/>
        </p:nvPicPr>
        <p:blipFill rotWithShape="1"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97" t="24140" r="2335" b="31389"/>
          <a:stretch/>
        </p:blipFill>
        <p:spPr>
          <a:xfrm>
            <a:off x="5867824" y="5106935"/>
            <a:ext cx="1037440" cy="308086"/>
          </a:xfrm>
          <a:prstGeom prst="rect">
            <a:avLst/>
          </a:prstGeom>
        </p:spPr>
      </p:pic>
      <p:grpSp>
        <p:nvGrpSpPr>
          <p:cNvPr id="63" name="Группа 62"/>
          <p:cNvGrpSpPr/>
          <p:nvPr/>
        </p:nvGrpSpPr>
        <p:grpSpPr>
          <a:xfrm>
            <a:off x="6539531" y="1968463"/>
            <a:ext cx="3734488" cy="3997885"/>
            <a:chOff x="6237691" y="2273475"/>
            <a:chExt cx="3734488" cy="4154181"/>
          </a:xfrm>
        </p:grpSpPr>
        <p:sp>
          <p:nvSpPr>
            <p:cNvPr id="64" name="Дуга 63"/>
            <p:cNvSpPr>
              <a:spLocks noChangeAspect="1"/>
            </p:cNvSpPr>
            <p:nvPr/>
          </p:nvSpPr>
          <p:spPr>
            <a:xfrm rot="264417">
              <a:off x="6551364" y="2664806"/>
              <a:ext cx="3149733" cy="3259793"/>
            </a:xfrm>
            <a:prstGeom prst="arc">
              <a:avLst>
                <a:gd name="adj1" fmla="val 11482598"/>
                <a:gd name="adj2" fmla="val 9497215"/>
              </a:avLst>
            </a:prstGeom>
            <a:ln w="12700">
              <a:solidFill>
                <a:srgbClr val="9165E8"/>
              </a:solidFill>
              <a:headEnd type="none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0" name="Прямоугольник 69"/>
            <p:cNvSpPr/>
            <p:nvPr/>
          </p:nvSpPr>
          <p:spPr>
            <a:xfrm rot="20892992">
              <a:off x="6247618" y="2273475"/>
              <a:ext cx="3724561" cy="3826249"/>
            </a:xfrm>
            <a:prstGeom prst="rect">
              <a:avLst/>
            </a:prstGeom>
            <a:noFill/>
          </p:spPr>
          <p:txBody>
            <a:bodyPr wrap="square" lIns="0" tIns="51831" rIns="207323" bIns="51831" rtlCol="0">
              <a:prstTxWarp prst="textArchDown">
                <a:avLst>
                  <a:gd name="adj" fmla="val 1292130"/>
                </a:avLst>
              </a:prstTxWarp>
              <a:spAutoFit/>
            </a:bodyPr>
            <a:lstStyle/>
            <a:p>
              <a:pPr algn="just">
                <a:buClr>
                  <a:srgbClr val="5A8AEB"/>
                </a:buClr>
                <a:buSzPct val="100000"/>
              </a:pPr>
              <a:r>
                <a:rPr lang="ru-RU" dirty="0" smtClean="0">
                  <a:solidFill>
                    <a:srgbClr val="9165E8"/>
                  </a:solidFill>
                  <a:latin typeface="PT Root UI Medium" panose="020B0503020202020204" pitchFamily="34" charset="-52"/>
                  <a:ea typeface="PT Root UI Medium" panose="020B0503020202020204" pitchFamily="34" charset="-52"/>
                  <a:cs typeface="Segoe UI Semibold" panose="020B0702040204020203" pitchFamily="34" charset="0"/>
                </a:rPr>
                <a:t>         </a:t>
              </a:r>
              <a:r>
                <a:rPr lang="ru-RU" dirty="0">
                  <a:solidFill>
                    <a:srgbClr val="9165E8"/>
                  </a:solidFill>
                  <a:latin typeface="PT Root UI Medium" panose="020B0503020202020204" pitchFamily="34" charset="-52"/>
                  <a:ea typeface="PT Root UI Medium" panose="020B0503020202020204" pitchFamily="34" charset="-52"/>
                  <a:cs typeface="Segoe UI Semibold" panose="020B0702040204020203" pitchFamily="34" charset="0"/>
                </a:rPr>
                <a:t>  тра</a:t>
              </a:r>
              <a:r>
                <a:rPr lang="ru-RU" dirty="0" smtClean="0">
                  <a:solidFill>
                    <a:srgbClr val="9165E8"/>
                  </a:solidFill>
                  <a:latin typeface="PT Root UI Medium" panose="020B0503020202020204" pitchFamily="34" charset="-52"/>
                  <a:ea typeface="PT Root UI Medium" panose="020B0503020202020204" pitchFamily="34" charset="-52"/>
                  <a:cs typeface="Segoe UI Semibold" panose="020B0702040204020203" pitchFamily="34" charset="0"/>
                </a:rPr>
                <a:t>нсформация                 зрелость </a:t>
              </a:r>
              <a:endParaRPr lang="ru-RU" sz="2000" dirty="0">
                <a:solidFill>
                  <a:srgbClr val="9165E8"/>
                </a:solidFill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</a:endParaRPr>
            </a:p>
          </p:txBody>
        </p:sp>
        <p:sp>
          <p:nvSpPr>
            <p:cNvPr id="71" name="Прямоугольник 70"/>
            <p:cNvSpPr/>
            <p:nvPr/>
          </p:nvSpPr>
          <p:spPr>
            <a:xfrm rot="960893">
              <a:off x="6237691" y="2499918"/>
              <a:ext cx="3709404" cy="3927738"/>
            </a:xfrm>
            <a:prstGeom prst="rect">
              <a:avLst/>
            </a:prstGeom>
          </p:spPr>
          <p:txBody>
            <a:bodyPr wrap="square" lIns="0" tIns="0" rIns="0" bIns="0">
              <a:prstTxWarp prst="textArchUp">
                <a:avLst>
                  <a:gd name="adj" fmla="val 11922863"/>
                </a:avLst>
              </a:prstTxWarp>
              <a:spAutoFit/>
            </a:bodyPr>
            <a:lstStyle/>
            <a:p>
              <a:r>
                <a:rPr lang="ru-RU" dirty="0" smtClean="0">
                  <a:solidFill>
                    <a:srgbClr val="9165E8"/>
                  </a:solidFill>
                  <a:latin typeface="PT Root UI Medium" panose="020B0503020202020204" pitchFamily="34" charset="-52"/>
                  <a:ea typeface="PT Root UI Medium" panose="020B0503020202020204" pitchFamily="34" charset="-52"/>
                  <a:cs typeface="Segoe UI Semibold" panose="020B0702040204020203" pitchFamily="34" charset="0"/>
                </a:rPr>
                <a:t>         идея               старт                 рост</a:t>
              </a:r>
              <a:endParaRPr lang="ru-RU" dirty="0">
                <a:solidFill>
                  <a:srgbClr val="9165E8"/>
                </a:solidFill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</a:endParaRPr>
            </a:p>
          </p:txBody>
        </p:sp>
        <p:sp>
          <p:nvSpPr>
            <p:cNvPr id="79" name="Прямоугольник 78"/>
            <p:cNvSpPr/>
            <p:nvPr/>
          </p:nvSpPr>
          <p:spPr>
            <a:xfrm>
              <a:off x="6855588" y="4336597"/>
              <a:ext cx="783512" cy="25437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r"/>
              <a:r>
                <a:rPr lang="ru-RU" sz="1200" dirty="0" smtClean="0">
                  <a:latin typeface="PT Root UI" panose="020B0303020202020204" pitchFamily="34" charset="-52"/>
                  <a:ea typeface="PT Root UI" panose="020B0303020202020204" pitchFamily="34" charset="-52"/>
                </a:rPr>
                <a:t>госуслуги</a:t>
              </a:r>
              <a:endParaRPr lang="ru-RU" sz="1200" dirty="0">
                <a:latin typeface="PT Root UI" panose="020B0303020202020204" pitchFamily="34" charset="-52"/>
                <a:ea typeface="PT Root UI" panose="020B0303020202020204" pitchFamily="34" charset="-52"/>
              </a:endParaRPr>
            </a:p>
          </p:txBody>
        </p:sp>
        <p:sp>
          <p:nvSpPr>
            <p:cNvPr id="80" name="Прямоугольник 79"/>
            <p:cNvSpPr/>
            <p:nvPr/>
          </p:nvSpPr>
          <p:spPr>
            <a:xfrm>
              <a:off x="7504121" y="5030048"/>
              <a:ext cx="1189764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1200" dirty="0">
                  <a:latin typeface="PT Root UI" panose="020B0303020202020204" pitchFamily="34" charset="-52"/>
                  <a:ea typeface="PT Root UI" panose="020B0303020202020204" pitchFamily="34" charset="-52"/>
                </a:rPr>
                <a:t>федеральные </a:t>
              </a:r>
              <a:r>
                <a:rPr lang="ru-RU" sz="1200" dirty="0" smtClean="0">
                  <a:latin typeface="PT Root UI" panose="020B0303020202020204" pitchFamily="34" charset="-52"/>
                  <a:ea typeface="PT Root UI" panose="020B0303020202020204" pitchFamily="34" charset="-52"/>
                </a:rPr>
                <a:t>меры</a:t>
              </a:r>
              <a:endParaRPr lang="ru-RU" sz="1200" dirty="0">
                <a:latin typeface="PT Root UI" panose="020B0303020202020204" pitchFamily="34" charset="-52"/>
                <a:ea typeface="PT Root UI" panose="020B0303020202020204" pitchFamily="34" charset="-52"/>
              </a:endParaRPr>
            </a:p>
          </p:txBody>
        </p:sp>
        <p:sp>
          <p:nvSpPr>
            <p:cNvPr id="81" name="Прямоугольник 80"/>
            <p:cNvSpPr/>
            <p:nvPr/>
          </p:nvSpPr>
          <p:spPr>
            <a:xfrm>
              <a:off x="8458552" y="4225864"/>
              <a:ext cx="1309720" cy="4239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200" dirty="0">
                  <a:latin typeface="PT Root UI" panose="020B0303020202020204" pitchFamily="34" charset="-52"/>
                  <a:ea typeface="PT Root UI" panose="020B0303020202020204" pitchFamily="34" charset="-52"/>
                </a:rPr>
                <a:t>корпоративный </a:t>
              </a:r>
              <a:r>
                <a:rPr lang="ru-RU" sz="1200" dirty="0" smtClean="0">
                  <a:latin typeface="PT Root UI" panose="020B0303020202020204" pitchFamily="34" charset="-52"/>
                  <a:ea typeface="PT Root UI" panose="020B0303020202020204" pitchFamily="34" charset="-52"/>
                </a:rPr>
                <a:t>сектор</a:t>
              </a:r>
              <a:endParaRPr lang="ru-RU" sz="1000" dirty="0">
                <a:latin typeface="PT Root UI" panose="020B0303020202020204" pitchFamily="34" charset="-52"/>
                <a:ea typeface="PT Root UI" panose="020B0303020202020204" pitchFamily="34" charset="-52"/>
              </a:endParaRPr>
            </a:p>
          </p:txBody>
        </p:sp>
        <p:sp>
          <p:nvSpPr>
            <p:cNvPr id="82" name="Прямоугольник 81"/>
            <p:cNvSpPr/>
            <p:nvPr/>
          </p:nvSpPr>
          <p:spPr>
            <a:xfrm>
              <a:off x="6876523" y="3161436"/>
              <a:ext cx="1153054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1200" dirty="0" smtClean="0">
                  <a:latin typeface="PT Root UI" panose="020B0303020202020204" pitchFamily="34" charset="-52"/>
                  <a:ea typeface="PT Root UI" panose="020B0303020202020204" pitchFamily="34" charset="-52"/>
                </a:rPr>
                <a:t>меры поддержки 89 регионов</a:t>
              </a:r>
              <a:endParaRPr lang="ru-RU" sz="1200" dirty="0">
                <a:latin typeface="PT Root UI" panose="020B0303020202020204" pitchFamily="34" charset="-52"/>
                <a:ea typeface="PT Root UI" panose="020B0303020202020204" pitchFamily="34" charset="-52"/>
              </a:endParaRPr>
            </a:p>
          </p:txBody>
        </p:sp>
        <p:sp>
          <p:nvSpPr>
            <p:cNvPr id="83" name="Прямоугольник 82"/>
            <p:cNvSpPr/>
            <p:nvPr/>
          </p:nvSpPr>
          <p:spPr>
            <a:xfrm>
              <a:off x="8261221" y="3289749"/>
              <a:ext cx="1062606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200" dirty="0" smtClean="0">
                  <a:latin typeface="PT Root UI" panose="020B0303020202020204" pitchFamily="34" charset="-52"/>
                  <a:ea typeface="PT Root UI" panose="020B0303020202020204" pitchFamily="34" charset="-52"/>
                </a:rPr>
                <a:t>сервисы для бизнеса</a:t>
              </a:r>
              <a:endParaRPr lang="ru-RU" sz="1200" dirty="0">
                <a:latin typeface="PT Root UI" panose="020B0303020202020204" pitchFamily="34" charset="-52"/>
                <a:ea typeface="PT Root UI" panose="020B0303020202020204" pitchFamily="34" charset="-52"/>
              </a:endParaRPr>
            </a:p>
          </p:txBody>
        </p:sp>
        <p:grpSp>
          <p:nvGrpSpPr>
            <p:cNvPr id="84" name="Группа 83"/>
            <p:cNvGrpSpPr>
              <a:grpSpLocks noChangeAspect="1"/>
            </p:cNvGrpSpPr>
            <p:nvPr/>
          </p:nvGrpSpPr>
          <p:grpSpPr>
            <a:xfrm>
              <a:off x="6708775" y="3091351"/>
              <a:ext cx="2795401" cy="2298589"/>
              <a:chOff x="6658804" y="2669557"/>
              <a:chExt cx="2796330" cy="2299353"/>
            </a:xfrm>
          </p:grpSpPr>
          <p:cxnSp>
            <p:nvCxnSpPr>
              <p:cNvPr id="86" name="Прямая соединительная линия 85"/>
              <p:cNvCxnSpPr/>
              <p:nvPr/>
            </p:nvCxnSpPr>
            <p:spPr>
              <a:xfrm>
                <a:off x="8034439" y="2669557"/>
                <a:ext cx="22782" cy="1151636"/>
              </a:xfrm>
              <a:prstGeom prst="line">
                <a:avLst/>
              </a:prstGeom>
              <a:ln>
                <a:solidFill>
                  <a:srgbClr val="8144C1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Прямая соединительная линия 86"/>
              <p:cNvCxnSpPr/>
              <p:nvPr/>
            </p:nvCxnSpPr>
            <p:spPr>
              <a:xfrm flipH="1">
                <a:off x="7158137" y="3841403"/>
                <a:ext cx="873187" cy="1122339"/>
              </a:xfrm>
              <a:prstGeom prst="line">
                <a:avLst/>
              </a:prstGeom>
              <a:ln>
                <a:solidFill>
                  <a:srgbClr val="8144C1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Прямая соединительная линия 87"/>
              <p:cNvCxnSpPr/>
              <p:nvPr/>
            </p:nvCxnSpPr>
            <p:spPr>
              <a:xfrm>
                <a:off x="8104800" y="3882505"/>
                <a:ext cx="822317" cy="1086405"/>
              </a:xfrm>
              <a:prstGeom prst="line">
                <a:avLst/>
              </a:prstGeom>
              <a:ln>
                <a:solidFill>
                  <a:srgbClr val="8144C1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Прямая соединительная линия 88"/>
              <p:cNvCxnSpPr/>
              <p:nvPr/>
            </p:nvCxnSpPr>
            <p:spPr>
              <a:xfrm rot="4500000" flipH="1">
                <a:off x="8771134" y="2918899"/>
                <a:ext cx="0" cy="1368000"/>
              </a:xfrm>
              <a:prstGeom prst="line">
                <a:avLst/>
              </a:prstGeom>
              <a:ln>
                <a:solidFill>
                  <a:srgbClr val="8144C1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Прямая соединительная линия 89"/>
              <p:cNvCxnSpPr/>
              <p:nvPr/>
            </p:nvCxnSpPr>
            <p:spPr>
              <a:xfrm rot="17100000">
                <a:off x="7342804" y="2912953"/>
                <a:ext cx="0" cy="1368000"/>
              </a:xfrm>
              <a:prstGeom prst="line">
                <a:avLst/>
              </a:prstGeom>
              <a:ln>
                <a:solidFill>
                  <a:srgbClr val="8144C1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85" name="Рисунок 84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41564" y="3751767"/>
              <a:ext cx="910008" cy="941806"/>
            </a:xfrm>
            <a:prstGeom prst="rect">
              <a:avLst/>
            </a:prstGeom>
          </p:spPr>
        </p:pic>
      </p:grpSp>
      <p:pic>
        <p:nvPicPr>
          <p:cNvPr id="91" name="Рисунок 90"/>
          <p:cNvPicPr>
            <a:picLocks noChangeAspect="1"/>
          </p:cNvPicPr>
          <p:nvPr/>
        </p:nvPicPr>
        <p:blipFill>
          <a:blip r:embed="rId2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26211" y="4479827"/>
            <a:ext cx="977619" cy="345869"/>
          </a:xfrm>
          <a:prstGeom prst="rect">
            <a:avLst/>
          </a:prstGeom>
        </p:spPr>
      </p:pic>
      <p:grpSp>
        <p:nvGrpSpPr>
          <p:cNvPr id="92" name="Группа 91"/>
          <p:cNvGrpSpPr/>
          <p:nvPr/>
        </p:nvGrpSpPr>
        <p:grpSpPr>
          <a:xfrm>
            <a:off x="10275010" y="1813193"/>
            <a:ext cx="1592227" cy="2931212"/>
            <a:chOff x="10275010" y="1813193"/>
            <a:chExt cx="1592227" cy="2931212"/>
          </a:xfrm>
        </p:grpSpPr>
        <p:sp>
          <p:nvSpPr>
            <p:cNvPr id="93" name="Прямоугольник 92">
              <a:extLst>
                <a:ext uri="{FF2B5EF4-FFF2-40B4-BE49-F238E27FC236}">
                  <a16:creationId xmlns:a16="http://schemas.microsoft.com/office/drawing/2014/main" id="{68302B71-6526-CFFB-33EE-76092CBCC1CA}"/>
                </a:ext>
              </a:extLst>
            </p:cNvPr>
            <p:cNvSpPr/>
            <p:nvPr/>
          </p:nvSpPr>
          <p:spPr>
            <a:xfrm>
              <a:off x="10461757" y="3284152"/>
              <a:ext cx="751810" cy="2616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1100" dirty="0" smtClean="0">
                  <a:solidFill>
                    <a:schemeClr val="bg1">
                      <a:lumMod val="75000"/>
                    </a:schemeClr>
                  </a:solidFill>
                  <a:latin typeface="PT Root UI Medium" panose="020B0503020202020204" pitchFamily="34" charset="-52"/>
                  <a:ea typeface="PT Root UI Medium" panose="020B0503020202020204" pitchFamily="34" charset="-52"/>
                  <a:cs typeface="Segoe UI Semibold" panose="020B0702040204020203" pitchFamily="34" charset="0"/>
                </a:rPr>
                <a:t>банки</a:t>
              </a:r>
              <a:endParaRPr lang="ru-RU" sz="1100" dirty="0">
                <a:solidFill>
                  <a:schemeClr val="bg1">
                    <a:lumMod val="75000"/>
                  </a:schemeClr>
                </a:solidFill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</a:endParaRPr>
            </a:p>
          </p:txBody>
        </p:sp>
        <p:pic>
          <p:nvPicPr>
            <p:cNvPr id="94" name="Picture 33" descr="https://mobile-review.com/all/wp-content/uploads/2022/04/minczifry.png"/>
            <p:cNvPicPr>
              <a:picLocks noChangeAspect="1" noChangeArrowheads="1"/>
            </p:cNvPicPr>
            <p:nvPr/>
          </p:nvPicPr>
          <p:blipFill>
            <a:blip r:embed="rId8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445078" y="2096619"/>
              <a:ext cx="813919" cy="1734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5" name="Рисунок 94"/>
            <p:cNvPicPr>
              <a:picLocks noChangeAspect="1"/>
            </p:cNvPicPr>
            <p:nvPr/>
          </p:nvPicPr>
          <p:blipFill>
            <a:blip r:embed="rId9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60466" y="1813193"/>
              <a:ext cx="753101" cy="189013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96" name="Picture 24" descr="https://static.tildacdn.com/tild6638-3762-4334-b866-633236393234/_kjuj.png"/>
            <p:cNvPicPr>
              <a:picLocks noChangeAspect="1" noChangeArrowheads="1"/>
            </p:cNvPicPr>
            <p:nvPr/>
          </p:nvPicPr>
          <p:blipFill rotWithShape="1">
            <a:blip r:embed="rId10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2957" b="18239"/>
            <a:stretch/>
          </p:blipFill>
          <p:spPr bwMode="auto">
            <a:xfrm>
              <a:off x="10826935" y="2991032"/>
              <a:ext cx="858523" cy="2838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7" name="Рисунок 96"/>
            <p:cNvPicPr>
              <a:picLocks noChangeAspect="1"/>
            </p:cNvPicPr>
            <p:nvPr/>
          </p:nvPicPr>
          <p:blipFill>
            <a:blip r:embed="rId11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399648" y="2358950"/>
              <a:ext cx="763381" cy="31704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8" name="Прямоугольник 97">
              <a:extLst>
                <a:ext uri="{FF2B5EF4-FFF2-40B4-BE49-F238E27FC236}">
                  <a16:creationId xmlns:a16="http://schemas.microsoft.com/office/drawing/2014/main" id="{68302B71-6526-CFFB-33EE-76092CBCC1CA}"/>
                </a:ext>
              </a:extLst>
            </p:cNvPr>
            <p:cNvSpPr/>
            <p:nvPr/>
          </p:nvSpPr>
          <p:spPr>
            <a:xfrm>
              <a:off x="11116317" y="2295222"/>
              <a:ext cx="750920" cy="3231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850"/>
                </a:lnSpc>
              </a:pPr>
              <a:r>
                <a:rPr lang="ru-RU" sz="800" dirty="0" smtClean="0">
                  <a:solidFill>
                    <a:schemeClr val="bg1">
                      <a:lumMod val="75000"/>
                    </a:schemeClr>
                  </a:solidFill>
                  <a:latin typeface="PT Root UI Medium" panose="020B0503020202020204" pitchFamily="34" charset="-52"/>
                  <a:ea typeface="PT Root UI Medium" panose="020B0503020202020204" pitchFamily="34" charset="-52"/>
                  <a:cs typeface="Segoe UI Semibold" panose="020B0702040204020203" pitchFamily="34" charset="0"/>
                </a:rPr>
                <a:t>заказчики </a:t>
              </a:r>
              <a:br>
                <a:rPr lang="ru-RU" sz="800" dirty="0" smtClean="0">
                  <a:solidFill>
                    <a:schemeClr val="bg1">
                      <a:lumMod val="75000"/>
                    </a:schemeClr>
                  </a:solidFill>
                  <a:latin typeface="PT Root UI Medium" panose="020B0503020202020204" pitchFamily="34" charset="-52"/>
                  <a:ea typeface="PT Root UI Medium" panose="020B0503020202020204" pitchFamily="34" charset="-52"/>
                  <a:cs typeface="Segoe UI Semibold" panose="020B0702040204020203" pitchFamily="34" charset="0"/>
                </a:rPr>
              </a:br>
              <a:r>
                <a:rPr lang="ru-RU" sz="800" dirty="0" smtClean="0">
                  <a:solidFill>
                    <a:schemeClr val="bg1">
                      <a:lumMod val="75000"/>
                    </a:schemeClr>
                  </a:solidFill>
                  <a:latin typeface="PT Root UI Medium" panose="020B0503020202020204" pitchFamily="34" charset="-52"/>
                  <a:ea typeface="PT Root UI Medium" panose="020B0503020202020204" pitchFamily="34" charset="-52"/>
                  <a:cs typeface="Segoe UI Semibold" panose="020B0702040204020203" pitchFamily="34" charset="0"/>
                </a:rPr>
                <a:t>по 223-ФЗ</a:t>
              </a:r>
              <a:endParaRPr lang="ru-RU" sz="800" dirty="0">
                <a:solidFill>
                  <a:schemeClr val="bg1">
                    <a:lumMod val="75000"/>
                  </a:schemeClr>
                </a:solidFill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</a:endParaRPr>
            </a:p>
          </p:txBody>
        </p:sp>
        <p:pic>
          <p:nvPicPr>
            <p:cNvPr id="99" name="Рисунок 98"/>
            <p:cNvPicPr>
              <a:picLocks noChangeAspect="1"/>
            </p:cNvPicPr>
            <p:nvPr/>
          </p:nvPicPr>
          <p:blipFill>
            <a:blip r:embed="rId12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84229" y="2680935"/>
              <a:ext cx="1214806" cy="310097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00" name="Рисунок 99"/>
            <p:cNvPicPr>
              <a:picLocks noChangeAspect="1"/>
            </p:cNvPicPr>
            <p:nvPr/>
          </p:nvPicPr>
          <p:blipFill>
            <a:blip r:embed="rId13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275010" y="2992233"/>
              <a:ext cx="631076" cy="367787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01" name="Picture 4" descr="https://static.insales-cdn.com/files/1/917/24019861/original/19a06a161e5a4109b8c364ba8fa0d545_c0e75a2cce9fea461ae667fdf24e4569.png?1667571328"/>
            <p:cNvPicPr>
              <a:picLocks noChangeAspect="1" noChangeArrowheads="1"/>
            </p:cNvPicPr>
            <p:nvPr/>
          </p:nvPicPr>
          <p:blipFill>
            <a:blip r:embed="rId14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556586" y="4603219"/>
              <a:ext cx="977284" cy="1411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" name="Рисунок 101"/>
            <p:cNvPicPr>
              <a:picLocks noChangeAspect="1"/>
            </p:cNvPicPr>
            <p:nvPr/>
          </p:nvPicPr>
          <p:blipFill>
            <a:blip r:embed="rId15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72358" y="4352448"/>
              <a:ext cx="549330" cy="171339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03" name="Picture 9" descr="https://www.mealty.ru/img/partners/avito.png"/>
            <p:cNvPicPr>
              <a:picLocks noChangeAspect="1" noChangeArrowheads="1"/>
            </p:cNvPicPr>
            <p:nvPr/>
          </p:nvPicPr>
          <p:blipFill>
            <a:blip r:embed="rId16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465738" y="4109622"/>
              <a:ext cx="562015" cy="1657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4" name="Picture 11" descr="https://xn--h1abj1a.xn--p1ai/wp-content/uploads/2023/07/2560px-ozon_2019.svg_.png"/>
            <p:cNvPicPr>
              <a:picLocks noChangeAspect="1" noChangeArrowheads="1"/>
            </p:cNvPicPr>
            <p:nvPr/>
          </p:nvPicPr>
          <p:blipFill>
            <a:blip r:embed="rId17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187960" y="4137917"/>
              <a:ext cx="497997" cy="1091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5" name="Picture 13" descr="https://logos-marques.com/wp-content/uploads/2021/03/VK-Logo-2016.png"/>
            <p:cNvPicPr>
              <a:picLocks noChangeAspect="1" noChangeArrowheads="1"/>
            </p:cNvPicPr>
            <p:nvPr/>
          </p:nvPicPr>
          <p:blipFill>
            <a:blip r:embed="rId18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382278" y="3801070"/>
              <a:ext cx="374148" cy="2115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6" name="Picture 15" descr="https://avatars.dzeninfra.ru/get-zen_doc/3531091/pub_616094fdd416587b202effb3_616098f8508bef66365420cb/orig"/>
            <p:cNvPicPr>
              <a:picLocks noChangeAspect="1" noChangeArrowheads="1"/>
            </p:cNvPicPr>
            <p:nvPr/>
          </p:nvPicPr>
          <p:blipFill>
            <a:blip r:embed="rId19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279990" y="4324916"/>
              <a:ext cx="423574" cy="2248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7" name="Picture 17" descr="https://res.cloudinary.com/admitad-gmbh/image/upload/v1690891629/u5z6padojljylaocddm4.jpg"/>
            <p:cNvPicPr>
              <a:picLocks noChangeAspect="1" noChangeArrowheads="1"/>
            </p:cNvPicPr>
            <p:nvPr/>
          </p:nvPicPr>
          <p:blipFill>
            <a:blip r:embed="rId20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893503" y="3880455"/>
              <a:ext cx="874693" cy="1723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8" name="Picture 21" descr="https://sh15-vologda-r19.gosweb.gosuslugi.ru/netcat_files/48/173/gosuslugi.png"/>
            <p:cNvPicPr>
              <a:picLocks noChangeAspect="1" noChangeArrowheads="1"/>
            </p:cNvPicPr>
            <p:nvPr/>
          </p:nvPicPr>
          <p:blipFill>
            <a:blip r:embed="rId21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435331" y="1834760"/>
              <a:ext cx="272695" cy="2873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9" name="Picture 23" descr="https://abali.ru/wp-content/uploads/2023/07/Opora-Rossii.png"/>
            <p:cNvPicPr>
              <a:picLocks noChangeAspect="1" noChangeArrowheads="1"/>
            </p:cNvPicPr>
            <p:nvPr/>
          </p:nvPicPr>
          <p:blipFill>
            <a:blip r:embed="rId22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356764" y="3285946"/>
              <a:ext cx="334018" cy="2097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0" name="Picture 25" descr="https://repinlife.ru/wp-content/uploads/2022/01/delovaya-rossiya-1.jpg"/>
            <p:cNvPicPr>
              <a:picLocks noChangeAspect="1" noChangeArrowheads="1"/>
            </p:cNvPicPr>
            <p:nvPr/>
          </p:nvPicPr>
          <p:blipFill>
            <a:blip r:embed="rId23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294431" y="3601914"/>
              <a:ext cx="401688" cy="1755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1" name="Picture 28" descr="https://upl-74.ru/upload/iblock/015/7jpkzya2qmasg4750e0gzwy6h5h1pnej.jpg"/>
            <p:cNvPicPr>
              <a:picLocks noChangeAspect="1" noChangeArrowheads="1"/>
            </p:cNvPicPr>
            <p:nvPr/>
          </p:nvPicPr>
          <p:blipFill>
            <a:blip r:embed="rId24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433856" y="3560305"/>
              <a:ext cx="381739" cy="2091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2" name="Picture 30" descr="https://des.sev.gov.ru/files/medialibrary/507/rspp.jpg"/>
            <p:cNvPicPr>
              <a:picLocks noChangeAspect="1" noChangeArrowheads="1"/>
            </p:cNvPicPr>
            <p:nvPr/>
          </p:nvPicPr>
          <p:blipFill>
            <a:blip r:embed="rId25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916302" y="3525979"/>
              <a:ext cx="251487" cy="2570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13" name="Скругленный прямоугольник 112"/>
          <p:cNvSpPr/>
          <p:nvPr/>
        </p:nvSpPr>
        <p:spPr>
          <a:xfrm>
            <a:off x="585037" y="4429294"/>
            <a:ext cx="4808111" cy="1868249"/>
          </a:xfrm>
          <a:prstGeom prst="roundRect">
            <a:avLst>
              <a:gd name="adj" fmla="val 6310"/>
            </a:avLst>
          </a:prstGeom>
          <a:noFill/>
          <a:ln>
            <a:solidFill>
              <a:srgbClr val="9165E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14" name="Straight Connector 8">
            <a:extLst>
              <a:ext uri="{FF2B5EF4-FFF2-40B4-BE49-F238E27FC236}">
                <a16:creationId xmlns:a16="http://schemas.microsoft.com/office/drawing/2014/main" id="{8E01591F-888E-9B52-8DD8-FDF696844671}"/>
              </a:ext>
            </a:extLst>
          </p:cNvPr>
          <p:cNvCxnSpPr>
            <a:cxnSpLocks/>
          </p:cNvCxnSpPr>
          <p:nvPr/>
        </p:nvCxnSpPr>
        <p:spPr>
          <a:xfrm>
            <a:off x="906431" y="4707049"/>
            <a:ext cx="2" cy="226473"/>
          </a:xfrm>
          <a:prstGeom prst="line">
            <a:avLst/>
          </a:prstGeom>
          <a:ln w="12700">
            <a:solidFill>
              <a:srgbClr val="19191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8">
            <a:extLst>
              <a:ext uri="{FF2B5EF4-FFF2-40B4-BE49-F238E27FC236}">
                <a16:creationId xmlns:a16="http://schemas.microsoft.com/office/drawing/2014/main" id="{8E01591F-888E-9B52-8DD8-FDF696844671}"/>
              </a:ext>
            </a:extLst>
          </p:cNvPr>
          <p:cNvCxnSpPr>
            <a:cxnSpLocks/>
          </p:cNvCxnSpPr>
          <p:nvPr/>
        </p:nvCxnSpPr>
        <p:spPr>
          <a:xfrm>
            <a:off x="906431" y="5114507"/>
            <a:ext cx="2" cy="226473"/>
          </a:xfrm>
          <a:prstGeom prst="line">
            <a:avLst/>
          </a:prstGeom>
          <a:ln w="12700">
            <a:solidFill>
              <a:srgbClr val="19191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Straight Connector 8">
            <a:extLst>
              <a:ext uri="{FF2B5EF4-FFF2-40B4-BE49-F238E27FC236}">
                <a16:creationId xmlns:a16="http://schemas.microsoft.com/office/drawing/2014/main" id="{8E01591F-888E-9B52-8DD8-FDF696844671}"/>
              </a:ext>
            </a:extLst>
          </p:cNvPr>
          <p:cNvCxnSpPr>
            <a:cxnSpLocks/>
          </p:cNvCxnSpPr>
          <p:nvPr/>
        </p:nvCxnSpPr>
        <p:spPr>
          <a:xfrm>
            <a:off x="906431" y="5521965"/>
            <a:ext cx="2" cy="226473"/>
          </a:xfrm>
          <a:prstGeom prst="line">
            <a:avLst/>
          </a:prstGeom>
          <a:ln w="12700">
            <a:solidFill>
              <a:srgbClr val="19191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Straight Connector 8">
            <a:extLst>
              <a:ext uri="{FF2B5EF4-FFF2-40B4-BE49-F238E27FC236}">
                <a16:creationId xmlns:a16="http://schemas.microsoft.com/office/drawing/2014/main" id="{8E01591F-888E-9B52-8DD8-FDF696844671}"/>
              </a:ext>
            </a:extLst>
          </p:cNvPr>
          <p:cNvCxnSpPr>
            <a:cxnSpLocks/>
          </p:cNvCxnSpPr>
          <p:nvPr/>
        </p:nvCxnSpPr>
        <p:spPr>
          <a:xfrm>
            <a:off x="906431" y="5929423"/>
            <a:ext cx="2" cy="226473"/>
          </a:xfrm>
          <a:prstGeom prst="line">
            <a:avLst/>
          </a:prstGeom>
          <a:ln w="12700">
            <a:solidFill>
              <a:srgbClr val="19191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718107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Овал 14"/>
          <p:cNvSpPr/>
          <p:nvPr/>
        </p:nvSpPr>
        <p:spPr>
          <a:xfrm>
            <a:off x="9278240" y="1457310"/>
            <a:ext cx="1513405" cy="458592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8" name="Скругленный прямоугольник 19"/>
          <p:cNvSpPr/>
          <p:nvPr/>
        </p:nvSpPr>
        <p:spPr>
          <a:xfrm>
            <a:off x="3813497" y="4579186"/>
            <a:ext cx="2332768" cy="283593"/>
          </a:xfrm>
          <a:custGeom>
            <a:avLst/>
            <a:gdLst>
              <a:gd name="connsiteX0" fmla="*/ 0 w 2465759"/>
              <a:gd name="connsiteY0" fmla="*/ 132991 h 283593"/>
              <a:gd name="connsiteX1" fmla="*/ 132991 w 2465759"/>
              <a:gd name="connsiteY1" fmla="*/ 0 h 283593"/>
              <a:gd name="connsiteX2" fmla="*/ 2332768 w 2465759"/>
              <a:gd name="connsiteY2" fmla="*/ 0 h 283593"/>
              <a:gd name="connsiteX3" fmla="*/ 2465759 w 2465759"/>
              <a:gd name="connsiteY3" fmla="*/ 132991 h 283593"/>
              <a:gd name="connsiteX4" fmla="*/ 2465759 w 2465759"/>
              <a:gd name="connsiteY4" fmla="*/ 150602 h 283593"/>
              <a:gd name="connsiteX5" fmla="*/ 2332768 w 2465759"/>
              <a:gd name="connsiteY5" fmla="*/ 283593 h 283593"/>
              <a:gd name="connsiteX6" fmla="*/ 132991 w 2465759"/>
              <a:gd name="connsiteY6" fmla="*/ 283593 h 283593"/>
              <a:gd name="connsiteX7" fmla="*/ 0 w 2465759"/>
              <a:gd name="connsiteY7" fmla="*/ 150602 h 283593"/>
              <a:gd name="connsiteX8" fmla="*/ 0 w 2465759"/>
              <a:gd name="connsiteY8" fmla="*/ 132991 h 283593"/>
              <a:gd name="connsiteX0" fmla="*/ 0 w 2465759"/>
              <a:gd name="connsiteY0" fmla="*/ 132991 h 283593"/>
              <a:gd name="connsiteX1" fmla="*/ 132991 w 2465759"/>
              <a:gd name="connsiteY1" fmla="*/ 0 h 283593"/>
              <a:gd name="connsiteX2" fmla="*/ 2332768 w 2465759"/>
              <a:gd name="connsiteY2" fmla="*/ 0 h 283593"/>
              <a:gd name="connsiteX3" fmla="*/ 2465759 w 2465759"/>
              <a:gd name="connsiteY3" fmla="*/ 132991 h 283593"/>
              <a:gd name="connsiteX4" fmla="*/ 2332768 w 2465759"/>
              <a:gd name="connsiteY4" fmla="*/ 283593 h 283593"/>
              <a:gd name="connsiteX5" fmla="*/ 132991 w 2465759"/>
              <a:gd name="connsiteY5" fmla="*/ 283593 h 283593"/>
              <a:gd name="connsiteX6" fmla="*/ 0 w 2465759"/>
              <a:gd name="connsiteY6" fmla="*/ 150602 h 283593"/>
              <a:gd name="connsiteX7" fmla="*/ 0 w 2465759"/>
              <a:gd name="connsiteY7" fmla="*/ 132991 h 283593"/>
              <a:gd name="connsiteX0" fmla="*/ 2465759 w 2557199"/>
              <a:gd name="connsiteY0" fmla="*/ 132991 h 283593"/>
              <a:gd name="connsiteX1" fmla="*/ 2332768 w 2557199"/>
              <a:gd name="connsiteY1" fmla="*/ 283593 h 283593"/>
              <a:gd name="connsiteX2" fmla="*/ 132991 w 2557199"/>
              <a:gd name="connsiteY2" fmla="*/ 283593 h 283593"/>
              <a:gd name="connsiteX3" fmla="*/ 0 w 2557199"/>
              <a:gd name="connsiteY3" fmla="*/ 150602 h 283593"/>
              <a:gd name="connsiteX4" fmla="*/ 0 w 2557199"/>
              <a:gd name="connsiteY4" fmla="*/ 132991 h 283593"/>
              <a:gd name="connsiteX5" fmla="*/ 132991 w 2557199"/>
              <a:gd name="connsiteY5" fmla="*/ 0 h 283593"/>
              <a:gd name="connsiteX6" fmla="*/ 2332768 w 2557199"/>
              <a:gd name="connsiteY6" fmla="*/ 0 h 283593"/>
              <a:gd name="connsiteX7" fmla="*/ 2557199 w 2557199"/>
              <a:gd name="connsiteY7" fmla="*/ 224431 h 283593"/>
              <a:gd name="connsiteX0" fmla="*/ 2332768 w 2557199"/>
              <a:gd name="connsiteY0" fmla="*/ 283593 h 283593"/>
              <a:gd name="connsiteX1" fmla="*/ 132991 w 2557199"/>
              <a:gd name="connsiteY1" fmla="*/ 283593 h 283593"/>
              <a:gd name="connsiteX2" fmla="*/ 0 w 2557199"/>
              <a:gd name="connsiteY2" fmla="*/ 150602 h 283593"/>
              <a:gd name="connsiteX3" fmla="*/ 0 w 2557199"/>
              <a:gd name="connsiteY3" fmla="*/ 132991 h 283593"/>
              <a:gd name="connsiteX4" fmla="*/ 132991 w 2557199"/>
              <a:gd name="connsiteY4" fmla="*/ 0 h 283593"/>
              <a:gd name="connsiteX5" fmla="*/ 2332768 w 2557199"/>
              <a:gd name="connsiteY5" fmla="*/ 0 h 283593"/>
              <a:gd name="connsiteX6" fmla="*/ 2557199 w 2557199"/>
              <a:gd name="connsiteY6" fmla="*/ 224431 h 283593"/>
              <a:gd name="connsiteX0" fmla="*/ 2332768 w 2332768"/>
              <a:gd name="connsiteY0" fmla="*/ 283593 h 283593"/>
              <a:gd name="connsiteX1" fmla="*/ 132991 w 2332768"/>
              <a:gd name="connsiteY1" fmla="*/ 283593 h 283593"/>
              <a:gd name="connsiteX2" fmla="*/ 0 w 2332768"/>
              <a:gd name="connsiteY2" fmla="*/ 150602 h 283593"/>
              <a:gd name="connsiteX3" fmla="*/ 0 w 2332768"/>
              <a:gd name="connsiteY3" fmla="*/ 132991 h 283593"/>
              <a:gd name="connsiteX4" fmla="*/ 132991 w 2332768"/>
              <a:gd name="connsiteY4" fmla="*/ 0 h 283593"/>
              <a:gd name="connsiteX5" fmla="*/ 2332768 w 2332768"/>
              <a:gd name="connsiteY5" fmla="*/ 0 h 2835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332768" h="283593">
                <a:moveTo>
                  <a:pt x="2332768" y="283593"/>
                </a:moveTo>
                <a:lnTo>
                  <a:pt x="132991" y="283593"/>
                </a:lnTo>
                <a:cubicBezTo>
                  <a:pt x="59542" y="283593"/>
                  <a:pt x="0" y="224051"/>
                  <a:pt x="0" y="150602"/>
                </a:cubicBezTo>
                <a:lnTo>
                  <a:pt x="0" y="132991"/>
                </a:lnTo>
                <a:cubicBezTo>
                  <a:pt x="0" y="59542"/>
                  <a:pt x="59542" y="0"/>
                  <a:pt x="132991" y="0"/>
                </a:cubicBezTo>
                <a:lnTo>
                  <a:pt x="2332768" y="0"/>
                </a:lnTo>
              </a:path>
            </a:pathLst>
          </a:custGeom>
          <a:noFill/>
          <a:ln>
            <a:solidFill>
              <a:srgbClr val="9165E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9" name="Прямоугольник 308"/>
          <p:cNvSpPr/>
          <p:nvPr/>
        </p:nvSpPr>
        <p:spPr>
          <a:xfrm>
            <a:off x="0" y="-2743"/>
            <a:ext cx="12192000" cy="964332"/>
          </a:xfrm>
          <a:prstGeom prst="rect">
            <a:avLst/>
          </a:prstGeom>
          <a:gradFill>
            <a:gsLst>
              <a:gs pos="0">
                <a:srgbClr val="9165E8"/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0" name="TextBox 309">
            <a:extLst>
              <a:ext uri="{FF2B5EF4-FFF2-40B4-BE49-F238E27FC236}">
                <a16:creationId xmlns:a16="http://schemas.microsoft.com/office/drawing/2014/main" id="{BDBCDC99-EB7A-D1E9-2199-D1459C434493}"/>
              </a:ext>
            </a:extLst>
          </p:cNvPr>
          <p:cNvSpPr txBox="1"/>
          <p:nvPr/>
        </p:nvSpPr>
        <p:spPr>
          <a:xfrm>
            <a:off x="382478" y="354556"/>
            <a:ext cx="5705823" cy="5475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2786">
              <a:lnSpc>
                <a:spcPts val="3800"/>
              </a:lnSpc>
              <a:defRPr/>
            </a:pPr>
            <a:r>
              <a:rPr lang="ru-RU" sz="28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Цифровая платформа </a:t>
            </a:r>
            <a:r>
              <a:rPr lang="ru-RU" sz="2800" b="1" u="sng" dirty="0">
                <a:solidFill>
                  <a:srgbClr val="9165E8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МСП.РФ</a:t>
            </a:r>
          </a:p>
        </p:txBody>
      </p:sp>
      <p:sp>
        <p:nvSpPr>
          <p:cNvPr id="311" name="Rounded Rectangle 5">
            <a:extLst>
              <a:ext uri="{FF2B5EF4-FFF2-40B4-BE49-F238E27FC236}">
                <a16:creationId xmlns:a16="http://schemas.microsoft.com/office/drawing/2014/main" id="{BBD5D2F0-8846-06CE-F650-4922BB2FFCFA}"/>
              </a:ext>
            </a:extLst>
          </p:cNvPr>
          <p:cNvSpPr/>
          <p:nvPr/>
        </p:nvSpPr>
        <p:spPr>
          <a:xfrm>
            <a:off x="3179715" y="1092491"/>
            <a:ext cx="2816114" cy="2261380"/>
          </a:xfrm>
          <a:prstGeom prst="roundRect">
            <a:avLst>
              <a:gd name="adj" fmla="val 6275"/>
            </a:avLst>
          </a:prstGeom>
          <a:noFill/>
          <a:ln>
            <a:solidFill>
              <a:srgbClr val="19191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312" name="Rounded Rectangle 13">
            <a:extLst>
              <a:ext uri="{FF2B5EF4-FFF2-40B4-BE49-F238E27FC236}">
                <a16:creationId xmlns:a16="http://schemas.microsoft.com/office/drawing/2014/main" id="{16B913B1-3824-4808-EB4D-75164AC307B6}"/>
              </a:ext>
            </a:extLst>
          </p:cNvPr>
          <p:cNvSpPr/>
          <p:nvPr/>
        </p:nvSpPr>
        <p:spPr>
          <a:xfrm>
            <a:off x="8848344" y="3501480"/>
            <a:ext cx="2841748" cy="2767457"/>
          </a:xfrm>
          <a:prstGeom prst="roundRect">
            <a:avLst>
              <a:gd name="adj" fmla="val 4498"/>
            </a:avLst>
          </a:prstGeom>
          <a:noFill/>
          <a:ln>
            <a:solidFill>
              <a:srgbClr val="19191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000"/>
          </a:p>
        </p:txBody>
      </p:sp>
      <p:sp>
        <p:nvSpPr>
          <p:cNvPr id="313" name="Rounded Rectangle 15">
            <a:extLst>
              <a:ext uri="{FF2B5EF4-FFF2-40B4-BE49-F238E27FC236}">
                <a16:creationId xmlns:a16="http://schemas.microsoft.com/office/drawing/2014/main" id="{187EEF79-579C-A8F8-0589-81B57C71A014}"/>
              </a:ext>
            </a:extLst>
          </p:cNvPr>
          <p:cNvSpPr/>
          <p:nvPr/>
        </p:nvSpPr>
        <p:spPr>
          <a:xfrm>
            <a:off x="6148363" y="1092491"/>
            <a:ext cx="2541503" cy="2261380"/>
          </a:xfrm>
          <a:prstGeom prst="roundRect">
            <a:avLst>
              <a:gd name="adj" fmla="val 5771"/>
            </a:avLst>
          </a:prstGeom>
          <a:noFill/>
          <a:ln>
            <a:solidFill>
              <a:srgbClr val="19191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000"/>
          </a:p>
        </p:txBody>
      </p:sp>
      <p:sp>
        <p:nvSpPr>
          <p:cNvPr id="314" name="Rounded Rectangle 16">
            <a:extLst>
              <a:ext uri="{FF2B5EF4-FFF2-40B4-BE49-F238E27FC236}">
                <a16:creationId xmlns:a16="http://schemas.microsoft.com/office/drawing/2014/main" id="{3E0883A5-CAB7-094C-F487-996C5D380EA8}"/>
              </a:ext>
            </a:extLst>
          </p:cNvPr>
          <p:cNvSpPr/>
          <p:nvPr/>
        </p:nvSpPr>
        <p:spPr>
          <a:xfrm>
            <a:off x="481165" y="3503201"/>
            <a:ext cx="5514824" cy="2765738"/>
          </a:xfrm>
          <a:custGeom>
            <a:avLst/>
            <a:gdLst>
              <a:gd name="connsiteX0" fmla="*/ 0 w 5514665"/>
              <a:gd name="connsiteY0" fmla="*/ 131428 h 2765738"/>
              <a:gd name="connsiteX1" fmla="*/ 131428 w 5514665"/>
              <a:gd name="connsiteY1" fmla="*/ 0 h 2765738"/>
              <a:gd name="connsiteX2" fmla="*/ 5383237 w 5514665"/>
              <a:gd name="connsiteY2" fmla="*/ 0 h 2765738"/>
              <a:gd name="connsiteX3" fmla="*/ 5514665 w 5514665"/>
              <a:gd name="connsiteY3" fmla="*/ 131428 h 2765738"/>
              <a:gd name="connsiteX4" fmla="*/ 5514665 w 5514665"/>
              <a:gd name="connsiteY4" fmla="*/ 2634310 h 2765738"/>
              <a:gd name="connsiteX5" fmla="*/ 5383237 w 5514665"/>
              <a:gd name="connsiteY5" fmla="*/ 2765738 h 2765738"/>
              <a:gd name="connsiteX6" fmla="*/ 131428 w 5514665"/>
              <a:gd name="connsiteY6" fmla="*/ 2765738 h 2765738"/>
              <a:gd name="connsiteX7" fmla="*/ 0 w 5514665"/>
              <a:gd name="connsiteY7" fmla="*/ 2634310 h 2765738"/>
              <a:gd name="connsiteX8" fmla="*/ 0 w 5514665"/>
              <a:gd name="connsiteY8" fmla="*/ 131428 h 2765738"/>
              <a:gd name="connsiteX0" fmla="*/ 0 w 5514824"/>
              <a:gd name="connsiteY0" fmla="*/ 131428 h 2765738"/>
              <a:gd name="connsiteX1" fmla="*/ 131428 w 5514824"/>
              <a:gd name="connsiteY1" fmla="*/ 0 h 2765738"/>
              <a:gd name="connsiteX2" fmla="*/ 5383237 w 5514824"/>
              <a:gd name="connsiteY2" fmla="*/ 0 h 2765738"/>
              <a:gd name="connsiteX3" fmla="*/ 5514665 w 5514824"/>
              <a:gd name="connsiteY3" fmla="*/ 131428 h 2765738"/>
              <a:gd name="connsiteX4" fmla="*/ 5514824 w 5514824"/>
              <a:gd name="connsiteY4" fmla="*/ 1083087 h 2765738"/>
              <a:gd name="connsiteX5" fmla="*/ 5514665 w 5514824"/>
              <a:gd name="connsiteY5" fmla="*/ 2634310 h 2765738"/>
              <a:gd name="connsiteX6" fmla="*/ 5383237 w 5514824"/>
              <a:gd name="connsiteY6" fmla="*/ 2765738 h 2765738"/>
              <a:gd name="connsiteX7" fmla="*/ 131428 w 5514824"/>
              <a:gd name="connsiteY7" fmla="*/ 2765738 h 2765738"/>
              <a:gd name="connsiteX8" fmla="*/ 0 w 5514824"/>
              <a:gd name="connsiteY8" fmla="*/ 2634310 h 2765738"/>
              <a:gd name="connsiteX9" fmla="*/ 0 w 5514824"/>
              <a:gd name="connsiteY9" fmla="*/ 131428 h 2765738"/>
              <a:gd name="connsiteX0" fmla="*/ 0 w 5514824"/>
              <a:gd name="connsiteY0" fmla="*/ 131428 h 2765738"/>
              <a:gd name="connsiteX1" fmla="*/ 131428 w 5514824"/>
              <a:gd name="connsiteY1" fmla="*/ 0 h 2765738"/>
              <a:gd name="connsiteX2" fmla="*/ 5383237 w 5514824"/>
              <a:gd name="connsiteY2" fmla="*/ 0 h 2765738"/>
              <a:gd name="connsiteX3" fmla="*/ 5514665 w 5514824"/>
              <a:gd name="connsiteY3" fmla="*/ 131428 h 2765738"/>
              <a:gd name="connsiteX4" fmla="*/ 5514824 w 5514824"/>
              <a:gd name="connsiteY4" fmla="*/ 1083087 h 2765738"/>
              <a:gd name="connsiteX5" fmla="*/ 5514823 w 5514824"/>
              <a:gd name="connsiteY5" fmla="*/ 1359312 h 2765738"/>
              <a:gd name="connsiteX6" fmla="*/ 5514665 w 5514824"/>
              <a:gd name="connsiteY6" fmla="*/ 2634310 h 2765738"/>
              <a:gd name="connsiteX7" fmla="*/ 5383237 w 5514824"/>
              <a:gd name="connsiteY7" fmla="*/ 2765738 h 2765738"/>
              <a:gd name="connsiteX8" fmla="*/ 131428 w 5514824"/>
              <a:gd name="connsiteY8" fmla="*/ 2765738 h 2765738"/>
              <a:gd name="connsiteX9" fmla="*/ 0 w 5514824"/>
              <a:gd name="connsiteY9" fmla="*/ 2634310 h 2765738"/>
              <a:gd name="connsiteX10" fmla="*/ 0 w 5514824"/>
              <a:gd name="connsiteY10" fmla="*/ 131428 h 2765738"/>
              <a:gd name="connsiteX0" fmla="*/ 5514823 w 5606263"/>
              <a:gd name="connsiteY0" fmla="*/ 1359312 h 2765738"/>
              <a:gd name="connsiteX1" fmla="*/ 5514665 w 5606263"/>
              <a:gd name="connsiteY1" fmla="*/ 2634310 h 2765738"/>
              <a:gd name="connsiteX2" fmla="*/ 5383237 w 5606263"/>
              <a:gd name="connsiteY2" fmla="*/ 2765738 h 2765738"/>
              <a:gd name="connsiteX3" fmla="*/ 131428 w 5606263"/>
              <a:gd name="connsiteY3" fmla="*/ 2765738 h 2765738"/>
              <a:gd name="connsiteX4" fmla="*/ 0 w 5606263"/>
              <a:gd name="connsiteY4" fmla="*/ 2634310 h 2765738"/>
              <a:gd name="connsiteX5" fmla="*/ 0 w 5606263"/>
              <a:gd name="connsiteY5" fmla="*/ 131428 h 2765738"/>
              <a:gd name="connsiteX6" fmla="*/ 131428 w 5606263"/>
              <a:gd name="connsiteY6" fmla="*/ 0 h 2765738"/>
              <a:gd name="connsiteX7" fmla="*/ 5383237 w 5606263"/>
              <a:gd name="connsiteY7" fmla="*/ 0 h 2765738"/>
              <a:gd name="connsiteX8" fmla="*/ 5514665 w 5606263"/>
              <a:gd name="connsiteY8" fmla="*/ 131428 h 2765738"/>
              <a:gd name="connsiteX9" fmla="*/ 5514824 w 5606263"/>
              <a:gd name="connsiteY9" fmla="*/ 1083087 h 2765738"/>
              <a:gd name="connsiteX10" fmla="*/ 5606263 w 5606263"/>
              <a:gd name="connsiteY10" fmla="*/ 1450752 h 2765738"/>
              <a:gd name="connsiteX0" fmla="*/ 5514823 w 5514824"/>
              <a:gd name="connsiteY0" fmla="*/ 1359312 h 2765738"/>
              <a:gd name="connsiteX1" fmla="*/ 5514665 w 5514824"/>
              <a:gd name="connsiteY1" fmla="*/ 2634310 h 2765738"/>
              <a:gd name="connsiteX2" fmla="*/ 5383237 w 5514824"/>
              <a:gd name="connsiteY2" fmla="*/ 2765738 h 2765738"/>
              <a:gd name="connsiteX3" fmla="*/ 131428 w 5514824"/>
              <a:gd name="connsiteY3" fmla="*/ 2765738 h 2765738"/>
              <a:gd name="connsiteX4" fmla="*/ 0 w 5514824"/>
              <a:gd name="connsiteY4" fmla="*/ 2634310 h 2765738"/>
              <a:gd name="connsiteX5" fmla="*/ 0 w 5514824"/>
              <a:gd name="connsiteY5" fmla="*/ 131428 h 2765738"/>
              <a:gd name="connsiteX6" fmla="*/ 131428 w 5514824"/>
              <a:gd name="connsiteY6" fmla="*/ 0 h 2765738"/>
              <a:gd name="connsiteX7" fmla="*/ 5383237 w 5514824"/>
              <a:gd name="connsiteY7" fmla="*/ 0 h 2765738"/>
              <a:gd name="connsiteX8" fmla="*/ 5514665 w 5514824"/>
              <a:gd name="connsiteY8" fmla="*/ 131428 h 2765738"/>
              <a:gd name="connsiteX9" fmla="*/ 5514824 w 5514824"/>
              <a:gd name="connsiteY9" fmla="*/ 1083087 h 27657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514824" h="2765738">
                <a:moveTo>
                  <a:pt x="5514823" y="1359312"/>
                </a:moveTo>
                <a:cubicBezTo>
                  <a:pt x="5514770" y="1784311"/>
                  <a:pt x="5514718" y="2209311"/>
                  <a:pt x="5514665" y="2634310"/>
                </a:cubicBezTo>
                <a:cubicBezTo>
                  <a:pt x="5514665" y="2706896"/>
                  <a:pt x="5455823" y="2765738"/>
                  <a:pt x="5383237" y="2765738"/>
                </a:cubicBezTo>
                <a:lnTo>
                  <a:pt x="131428" y="2765738"/>
                </a:lnTo>
                <a:cubicBezTo>
                  <a:pt x="58842" y="2765738"/>
                  <a:pt x="0" y="2706896"/>
                  <a:pt x="0" y="2634310"/>
                </a:cubicBezTo>
                <a:lnTo>
                  <a:pt x="0" y="131428"/>
                </a:lnTo>
                <a:cubicBezTo>
                  <a:pt x="0" y="58842"/>
                  <a:pt x="58842" y="0"/>
                  <a:pt x="131428" y="0"/>
                </a:cubicBezTo>
                <a:lnTo>
                  <a:pt x="5383237" y="0"/>
                </a:lnTo>
                <a:cubicBezTo>
                  <a:pt x="5455823" y="0"/>
                  <a:pt x="5514665" y="58842"/>
                  <a:pt x="5514665" y="131428"/>
                </a:cubicBezTo>
                <a:lnTo>
                  <a:pt x="5514824" y="1083087"/>
                </a:lnTo>
              </a:path>
            </a:pathLst>
          </a:custGeom>
          <a:noFill/>
          <a:ln>
            <a:solidFill>
              <a:srgbClr val="19191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315" name="Прямоугольник 69">
            <a:extLst>
              <a:ext uri="{FF2B5EF4-FFF2-40B4-BE49-F238E27FC236}">
                <a16:creationId xmlns:a16="http://schemas.microsoft.com/office/drawing/2014/main" id="{37173F74-ACA9-0E44-2EBA-447035C74625}"/>
              </a:ext>
            </a:extLst>
          </p:cNvPr>
          <p:cNvSpPr/>
          <p:nvPr/>
        </p:nvSpPr>
        <p:spPr>
          <a:xfrm>
            <a:off x="9134842" y="3744192"/>
            <a:ext cx="132823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Информация</a:t>
            </a:r>
          </a:p>
        </p:txBody>
      </p:sp>
      <p:sp>
        <p:nvSpPr>
          <p:cNvPr id="316" name="Прямоугольник 70">
            <a:extLst>
              <a:ext uri="{FF2B5EF4-FFF2-40B4-BE49-F238E27FC236}">
                <a16:creationId xmlns:a16="http://schemas.microsoft.com/office/drawing/2014/main" id="{44E3BECC-56D1-E013-B121-90A7C3FDBB3C}"/>
              </a:ext>
            </a:extLst>
          </p:cNvPr>
          <p:cNvSpPr/>
          <p:nvPr/>
        </p:nvSpPr>
        <p:spPr>
          <a:xfrm>
            <a:off x="6387010" y="1259416"/>
            <a:ext cx="206700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Финансовые сервисы</a:t>
            </a:r>
          </a:p>
        </p:txBody>
      </p:sp>
      <p:sp>
        <p:nvSpPr>
          <p:cNvPr id="317" name="Прямоугольник 92">
            <a:extLst>
              <a:ext uri="{FF2B5EF4-FFF2-40B4-BE49-F238E27FC236}">
                <a16:creationId xmlns:a16="http://schemas.microsoft.com/office/drawing/2014/main" id="{5AA519DF-209B-61A3-395F-9EB92C641099}"/>
              </a:ext>
            </a:extLst>
          </p:cNvPr>
          <p:cNvSpPr/>
          <p:nvPr/>
        </p:nvSpPr>
        <p:spPr>
          <a:xfrm>
            <a:off x="3532546" y="1259416"/>
            <a:ext cx="221312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Личный кабинет</a:t>
            </a:r>
          </a:p>
        </p:txBody>
      </p:sp>
      <p:sp>
        <p:nvSpPr>
          <p:cNvPr id="318" name="Прямоугольник 92">
            <a:extLst>
              <a:ext uri="{FF2B5EF4-FFF2-40B4-BE49-F238E27FC236}">
                <a16:creationId xmlns:a16="http://schemas.microsoft.com/office/drawing/2014/main" id="{CC19C12D-6149-48EE-2825-539B1B8CD810}"/>
              </a:ext>
            </a:extLst>
          </p:cNvPr>
          <p:cNvSpPr/>
          <p:nvPr/>
        </p:nvSpPr>
        <p:spPr>
          <a:xfrm>
            <a:off x="833996" y="3711340"/>
            <a:ext cx="221312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Инструменты для бизнеса</a:t>
            </a:r>
          </a:p>
        </p:txBody>
      </p:sp>
      <p:pic>
        <p:nvPicPr>
          <p:cNvPr id="319" name="Рисунок 6">
            <a:extLst>
              <a:ext uri="{FF2B5EF4-FFF2-40B4-BE49-F238E27FC236}">
                <a16:creationId xmlns:a16="http://schemas.microsoft.com/office/drawing/2014/main" id="{DD13E705-8D43-6B16-8BB1-2CC8819A81C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8392" y="2217559"/>
            <a:ext cx="178687" cy="178687"/>
          </a:xfrm>
          <a:prstGeom prst="rect">
            <a:avLst/>
          </a:prstGeom>
        </p:spPr>
      </p:pic>
      <p:pic>
        <p:nvPicPr>
          <p:cNvPr id="320" name="Google Shape;182;p21">
            <a:extLst>
              <a:ext uri="{FF2B5EF4-FFF2-40B4-BE49-F238E27FC236}">
                <a16:creationId xmlns:a16="http://schemas.microsoft.com/office/drawing/2014/main" id="{546C02C4-7648-6F0D-E5D0-E2B210C53068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3529251" y="1790836"/>
            <a:ext cx="212148" cy="137012"/>
          </a:xfrm>
          <a:prstGeom prst="rect">
            <a:avLst/>
          </a:prstGeom>
          <a:noFill/>
          <a:ln>
            <a:noFill/>
          </a:ln>
        </p:spPr>
      </p:pic>
      <p:pic>
        <p:nvPicPr>
          <p:cNvPr id="321" name="Рисунок 8">
            <a:extLst>
              <a:ext uri="{FF2B5EF4-FFF2-40B4-BE49-F238E27FC236}">
                <a16:creationId xmlns:a16="http://schemas.microsoft.com/office/drawing/2014/main" id="{4F404E2F-95BA-2B1A-0AFE-D4E6FA93ED3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6615" y="2016994"/>
            <a:ext cx="136755" cy="136755"/>
          </a:xfrm>
          <a:prstGeom prst="rect">
            <a:avLst/>
          </a:prstGeom>
        </p:spPr>
      </p:pic>
      <p:sp>
        <p:nvSpPr>
          <p:cNvPr id="322" name="TextBox 321">
            <a:extLst>
              <a:ext uri="{FF2B5EF4-FFF2-40B4-BE49-F238E27FC236}">
                <a16:creationId xmlns:a16="http://schemas.microsoft.com/office/drawing/2014/main" id="{7034A9D2-459D-9432-CEEC-FE6125A018B7}"/>
              </a:ext>
            </a:extLst>
          </p:cNvPr>
          <p:cNvSpPr txBox="1"/>
          <p:nvPr/>
        </p:nvSpPr>
        <p:spPr>
          <a:xfrm>
            <a:off x="3795370" y="1524758"/>
            <a:ext cx="1664167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 lvl="0" indent="0">
              <a:spcBef>
                <a:spcPts val="361"/>
              </a:spcBef>
              <a:spcAft>
                <a:spcPts val="657"/>
              </a:spcAft>
              <a:buNone/>
            </a:pPr>
            <a:r>
              <a:rPr lang="ru-RU" sz="1000" dirty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  <a:sym typeface="Montserrat Medium"/>
              </a:rPr>
              <a:t>цифровой профиль</a:t>
            </a:r>
          </a:p>
        </p:txBody>
      </p:sp>
      <p:sp>
        <p:nvSpPr>
          <p:cNvPr id="323" name="TextBox 322">
            <a:extLst>
              <a:ext uri="{FF2B5EF4-FFF2-40B4-BE49-F238E27FC236}">
                <a16:creationId xmlns:a16="http://schemas.microsoft.com/office/drawing/2014/main" id="{E36669C8-0076-2CB0-6F6B-EC0D55E22AE5}"/>
              </a:ext>
            </a:extLst>
          </p:cNvPr>
          <p:cNvSpPr txBox="1"/>
          <p:nvPr/>
        </p:nvSpPr>
        <p:spPr>
          <a:xfrm>
            <a:off x="3795370" y="1737921"/>
            <a:ext cx="1958650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000" dirty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  <a:sym typeface="Montserrat Medium"/>
              </a:rPr>
              <a:t>расчет рейтинга бизнеса</a:t>
            </a:r>
          </a:p>
        </p:txBody>
      </p:sp>
      <p:sp>
        <p:nvSpPr>
          <p:cNvPr id="324" name="TextBox 323">
            <a:extLst>
              <a:ext uri="{FF2B5EF4-FFF2-40B4-BE49-F238E27FC236}">
                <a16:creationId xmlns:a16="http://schemas.microsoft.com/office/drawing/2014/main" id="{1893968C-CF89-CFAE-629E-640BB8974469}"/>
              </a:ext>
            </a:extLst>
          </p:cNvPr>
          <p:cNvSpPr txBox="1"/>
          <p:nvPr/>
        </p:nvSpPr>
        <p:spPr>
          <a:xfrm>
            <a:off x="3795370" y="1939602"/>
            <a:ext cx="1933895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000" dirty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  <a:sym typeface="Montserrat Medium"/>
              </a:rPr>
              <a:t>уведомления от госорганов</a:t>
            </a:r>
          </a:p>
        </p:txBody>
      </p:sp>
      <p:sp>
        <p:nvSpPr>
          <p:cNvPr id="325" name="TextBox 324">
            <a:extLst>
              <a:ext uri="{FF2B5EF4-FFF2-40B4-BE49-F238E27FC236}">
                <a16:creationId xmlns:a16="http://schemas.microsoft.com/office/drawing/2014/main" id="{6BA49121-A1F4-0964-967A-5E37DDC32051}"/>
              </a:ext>
            </a:extLst>
          </p:cNvPr>
          <p:cNvSpPr txBox="1"/>
          <p:nvPr/>
        </p:nvSpPr>
        <p:spPr>
          <a:xfrm>
            <a:off x="3795370" y="2162039"/>
            <a:ext cx="2061485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000" dirty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  <a:sym typeface="Montserrat Medium"/>
              </a:rPr>
              <a:t>календарь предпринимателя</a:t>
            </a:r>
          </a:p>
        </p:txBody>
      </p:sp>
      <p:sp>
        <p:nvSpPr>
          <p:cNvPr id="326" name="TextBox 325">
            <a:extLst>
              <a:ext uri="{FF2B5EF4-FFF2-40B4-BE49-F238E27FC236}">
                <a16:creationId xmlns:a16="http://schemas.microsoft.com/office/drawing/2014/main" id="{5300A099-B73D-0232-4AC6-D9F8DC2F12E9}"/>
              </a:ext>
            </a:extLst>
          </p:cNvPr>
          <p:cNvSpPr txBox="1"/>
          <p:nvPr/>
        </p:nvSpPr>
        <p:spPr>
          <a:xfrm>
            <a:off x="9349859" y="4160193"/>
            <a:ext cx="1933895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000" dirty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  <a:sym typeface="Montserrat Medium"/>
              </a:rPr>
              <a:t>законодательный дайджест</a:t>
            </a:r>
          </a:p>
        </p:txBody>
      </p:sp>
      <p:sp>
        <p:nvSpPr>
          <p:cNvPr id="327" name="TextBox 326">
            <a:extLst>
              <a:ext uri="{FF2B5EF4-FFF2-40B4-BE49-F238E27FC236}">
                <a16:creationId xmlns:a16="http://schemas.microsoft.com/office/drawing/2014/main" id="{57ACA126-0C5B-C806-317F-6EDDDEF32596}"/>
              </a:ext>
            </a:extLst>
          </p:cNvPr>
          <p:cNvSpPr txBox="1"/>
          <p:nvPr/>
        </p:nvSpPr>
        <p:spPr>
          <a:xfrm>
            <a:off x="9349859" y="4467910"/>
            <a:ext cx="1664167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000" dirty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  <a:sym typeface="Montserrat Medium"/>
              </a:rPr>
              <a:t>новости</a:t>
            </a:r>
          </a:p>
        </p:txBody>
      </p:sp>
      <p:sp>
        <p:nvSpPr>
          <p:cNvPr id="328" name="TextBox 327">
            <a:extLst>
              <a:ext uri="{FF2B5EF4-FFF2-40B4-BE49-F238E27FC236}">
                <a16:creationId xmlns:a16="http://schemas.microsoft.com/office/drawing/2014/main" id="{7BB48064-8F58-3AA5-61E6-189781EBB9B6}"/>
              </a:ext>
            </a:extLst>
          </p:cNvPr>
          <p:cNvSpPr txBox="1"/>
          <p:nvPr/>
        </p:nvSpPr>
        <p:spPr>
          <a:xfrm>
            <a:off x="9349859" y="4775365"/>
            <a:ext cx="1933895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 lvl="0" indent="0">
              <a:spcBef>
                <a:spcPts val="361"/>
              </a:spcBef>
              <a:spcAft>
                <a:spcPts val="657"/>
              </a:spcAft>
              <a:buNone/>
            </a:pPr>
            <a:r>
              <a:rPr lang="ru-RU" sz="1000" dirty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  <a:sym typeface="Montserrat Medium"/>
              </a:rPr>
              <a:t>статистика для бизнеса</a:t>
            </a:r>
          </a:p>
        </p:txBody>
      </p:sp>
      <p:sp>
        <p:nvSpPr>
          <p:cNvPr id="329" name="TextBox 328">
            <a:extLst>
              <a:ext uri="{FF2B5EF4-FFF2-40B4-BE49-F238E27FC236}">
                <a16:creationId xmlns:a16="http://schemas.microsoft.com/office/drawing/2014/main" id="{3B2FC50B-7962-2F7D-6D01-DE56F8F108E2}"/>
              </a:ext>
            </a:extLst>
          </p:cNvPr>
          <p:cNvSpPr txBox="1"/>
          <p:nvPr/>
        </p:nvSpPr>
        <p:spPr>
          <a:xfrm>
            <a:off x="9349859" y="5083322"/>
            <a:ext cx="1543729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 lvl="0" indent="0">
              <a:spcBef>
                <a:spcPts val="361"/>
              </a:spcBef>
              <a:spcAft>
                <a:spcPts val="657"/>
              </a:spcAft>
              <a:buNone/>
            </a:pPr>
            <a:r>
              <a:rPr lang="ru-RU" sz="1000" dirty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  <a:sym typeface="Montserrat Medium"/>
              </a:rPr>
              <a:t>самозанятым: старт, развитие, поддержка</a:t>
            </a:r>
          </a:p>
        </p:txBody>
      </p:sp>
      <p:sp>
        <p:nvSpPr>
          <p:cNvPr id="330" name="TextBox 329">
            <a:extLst>
              <a:ext uri="{FF2B5EF4-FFF2-40B4-BE49-F238E27FC236}">
                <a16:creationId xmlns:a16="http://schemas.microsoft.com/office/drawing/2014/main" id="{F772584E-FFE5-C744-6D2D-9C9AD78210C4}"/>
              </a:ext>
            </a:extLst>
          </p:cNvPr>
          <p:cNvSpPr txBox="1"/>
          <p:nvPr/>
        </p:nvSpPr>
        <p:spPr>
          <a:xfrm>
            <a:off x="6563939" y="1478683"/>
            <a:ext cx="2063575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000" dirty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  <a:sym typeface="Montserrat Medium"/>
              </a:rPr>
              <a:t>получение кредита онлайн</a:t>
            </a:r>
          </a:p>
        </p:txBody>
      </p:sp>
      <p:sp>
        <p:nvSpPr>
          <p:cNvPr id="331" name="TextBox 330">
            <a:extLst>
              <a:ext uri="{FF2B5EF4-FFF2-40B4-BE49-F238E27FC236}">
                <a16:creationId xmlns:a16="http://schemas.microsoft.com/office/drawing/2014/main" id="{5CA4F72A-9AEE-2FEB-EF41-5E3BD6649C0D}"/>
              </a:ext>
            </a:extLst>
          </p:cNvPr>
          <p:cNvSpPr txBox="1"/>
          <p:nvPr/>
        </p:nvSpPr>
        <p:spPr>
          <a:xfrm>
            <a:off x="6563939" y="1737231"/>
            <a:ext cx="2125927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 lvl="0" indent="0">
              <a:spcBef>
                <a:spcPts val="361"/>
              </a:spcBef>
              <a:spcAft>
                <a:spcPts val="657"/>
              </a:spcAft>
              <a:buNone/>
            </a:pPr>
            <a:r>
              <a:rPr lang="ru-RU" sz="1000" dirty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  <a:sym typeface="Montserrat Medium"/>
              </a:rPr>
              <a:t>льготный </a:t>
            </a:r>
            <a:r>
              <a:rPr lang="ru-RU" sz="1000" dirty="0" smtClean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  <a:sym typeface="Montserrat Medium"/>
              </a:rPr>
              <a:t>лизинг оборудования</a:t>
            </a:r>
            <a:endParaRPr lang="ru-RU" sz="1000" dirty="0">
              <a:latin typeface="PT Root UI Medium" panose="020B0503020202020204" pitchFamily="34" charset="-52"/>
              <a:ea typeface="PT Root UI Medium" panose="020B0503020202020204" pitchFamily="34" charset="-52"/>
              <a:cs typeface="Segoe UI Semibold" panose="020B0702040204020203" pitchFamily="34" charset="0"/>
              <a:sym typeface="Montserrat Medium"/>
            </a:endParaRPr>
          </a:p>
        </p:txBody>
      </p:sp>
      <p:sp>
        <p:nvSpPr>
          <p:cNvPr id="332" name="TextBox 331">
            <a:extLst>
              <a:ext uri="{FF2B5EF4-FFF2-40B4-BE49-F238E27FC236}">
                <a16:creationId xmlns:a16="http://schemas.microsoft.com/office/drawing/2014/main" id="{4FEA7B83-9137-FF67-5222-98E669986A13}"/>
              </a:ext>
            </a:extLst>
          </p:cNvPr>
          <p:cNvSpPr txBox="1"/>
          <p:nvPr/>
        </p:nvSpPr>
        <p:spPr>
          <a:xfrm>
            <a:off x="6563939" y="1973104"/>
            <a:ext cx="1913969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 lvl="0" indent="0">
              <a:spcBef>
                <a:spcPts val="361"/>
              </a:spcBef>
              <a:spcAft>
                <a:spcPts val="657"/>
              </a:spcAft>
              <a:buNone/>
            </a:pPr>
            <a:r>
              <a:rPr lang="ru-RU" sz="1000" dirty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  <a:sym typeface="Montserrat Medium"/>
              </a:rPr>
              <a:t>льготное кредитование инновационных компаний</a:t>
            </a:r>
          </a:p>
        </p:txBody>
      </p:sp>
      <p:sp>
        <p:nvSpPr>
          <p:cNvPr id="333" name="TextBox 332">
            <a:extLst>
              <a:ext uri="{FF2B5EF4-FFF2-40B4-BE49-F238E27FC236}">
                <a16:creationId xmlns:a16="http://schemas.microsoft.com/office/drawing/2014/main" id="{31F49333-68B1-D82C-2DB4-C62D9054A4E4}"/>
              </a:ext>
            </a:extLst>
          </p:cNvPr>
          <p:cNvSpPr txBox="1"/>
          <p:nvPr/>
        </p:nvSpPr>
        <p:spPr>
          <a:xfrm>
            <a:off x="6563939" y="2353112"/>
            <a:ext cx="2125927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 lvl="0" indent="0">
              <a:spcBef>
                <a:spcPts val="361"/>
              </a:spcBef>
              <a:spcAft>
                <a:spcPts val="657"/>
              </a:spcAft>
              <a:buNone/>
            </a:pPr>
            <a:r>
              <a:rPr lang="ru-RU" sz="1000" dirty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  <a:sym typeface="Montserrat Medium"/>
              </a:rPr>
              <a:t>центр поддержки </a:t>
            </a:r>
            <a:r>
              <a:rPr lang="ru-RU" sz="1000" dirty="0" smtClean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  <a:sym typeface="Montserrat Medium"/>
              </a:rPr>
              <a:t>инвестиционного кредитования</a:t>
            </a:r>
            <a:endParaRPr lang="ru-RU" sz="1000" dirty="0">
              <a:latin typeface="PT Root UI Medium" panose="020B0503020202020204" pitchFamily="34" charset="-52"/>
              <a:ea typeface="PT Root UI Medium" panose="020B0503020202020204" pitchFamily="34" charset="-52"/>
              <a:cs typeface="Segoe UI Semibold" panose="020B0702040204020203" pitchFamily="34" charset="0"/>
              <a:sym typeface="Montserrat Medium"/>
            </a:endParaRPr>
          </a:p>
        </p:txBody>
      </p:sp>
      <p:sp>
        <p:nvSpPr>
          <p:cNvPr id="334" name="Прямоугольник 92">
            <a:extLst>
              <a:ext uri="{FF2B5EF4-FFF2-40B4-BE49-F238E27FC236}">
                <a16:creationId xmlns:a16="http://schemas.microsoft.com/office/drawing/2014/main" id="{035B66B9-5260-1549-CF39-CB88389ECFF0}"/>
              </a:ext>
            </a:extLst>
          </p:cNvPr>
          <p:cNvSpPr/>
          <p:nvPr/>
        </p:nvSpPr>
        <p:spPr>
          <a:xfrm>
            <a:off x="833996" y="4184431"/>
            <a:ext cx="221312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b="1" dirty="0">
                <a:solidFill>
                  <a:srgbClr val="9165E8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Начни свое дело</a:t>
            </a:r>
          </a:p>
        </p:txBody>
      </p:sp>
      <p:sp>
        <p:nvSpPr>
          <p:cNvPr id="335" name="Прямоугольник 92">
            <a:extLst>
              <a:ext uri="{FF2B5EF4-FFF2-40B4-BE49-F238E27FC236}">
                <a16:creationId xmlns:a16="http://schemas.microsoft.com/office/drawing/2014/main" id="{A2A9DAFF-A364-E8E4-9C9F-ABF098293DC0}"/>
              </a:ext>
            </a:extLst>
          </p:cNvPr>
          <p:cNvSpPr/>
          <p:nvPr/>
        </p:nvSpPr>
        <p:spPr>
          <a:xfrm>
            <a:off x="3514345" y="3720272"/>
            <a:ext cx="221312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b="1" dirty="0">
                <a:solidFill>
                  <a:srgbClr val="9165E8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Ваши помощники</a:t>
            </a:r>
          </a:p>
        </p:txBody>
      </p:sp>
      <p:pic>
        <p:nvPicPr>
          <p:cNvPr id="336" name="Google Shape;184;p21">
            <a:extLst>
              <a:ext uri="{FF2B5EF4-FFF2-40B4-BE49-F238E27FC236}">
                <a16:creationId xmlns:a16="http://schemas.microsoft.com/office/drawing/2014/main" id="{D396E217-6BD8-5DA5-D147-B89CC0D81CE8}"/>
              </a:ext>
            </a:extLst>
          </p:cNvPr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9139862" y="4174226"/>
            <a:ext cx="110313" cy="146037"/>
          </a:xfrm>
          <a:prstGeom prst="rect">
            <a:avLst/>
          </a:prstGeom>
          <a:noFill/>
          <a:ln>
            <a:noFill/>
          </a:ln>
        </p:spPr>
      </p:pic>
      <p:pic>
        <p:nvPicPr>
          <p:cNvPr id="337" name="Google Shape;183;p21">
            <a:extLst>
              <a:ext uri="{FF2B5EF4-FFF2-40B4-BE49-F238E27FC236}">
                <a16:creationId xmlns:a16="http://schemas.microsoft.com/office/drawing/2014/main" id="{467B115F-4A1C-3C3E-BFFF-9CCA4FEF8F84}"/>
              </a:ext>
            </a:extLst>
          </p:cNvPr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9121497" y="4827266"/>
            <a:ext cx="142853" cy="111642"/>
          </a:xfrm>
          <a:prstGeom prst="rect">
            <a:avLst/>
          </a:prstGeom>
          <a:noFill/>
          <a:ln>
            <a:noFill/>
          </a:ln>
        </p:spPr>
      </p:pic>
      <p:pic>
        <p:nvPicPr>
          <p:cNvPr id="338" name="Рисунок 1">
            <a:extLst>
              <a:ext uri="{FF2B5EF4-FFF2-40B4-BE49-F238E27FC236}">
                <a16:creationId xmlns:a16="http://schemas.microsoft.com/office/drawing/2014/main" id="{B4CC0923-2DCB-BD1B-102F-5E7879CB7B4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1795" y="4478114"/>
            <a:ext cx="166445" cy="166445"/>
          </a:xfrm>
          <a:prstGeom prst="rect">
            <a:avLst/>
          </a:prstGeom>
        </p:spPr>
      </p:pic>
      <p:pic>
        <p:nvPicPr>
          <p:cNvPr id="339" name="Рисунок 7">
            <a:extLst>
              <a:ext uri="{FF2B5EF4-FFF2-40B4-BE49-F238E27FC236}">
                <a16:creationId xmlns:a16="http://schemas.microsoft.com/office/drawing/2014/main" id="{DB8C6584-36CC-2060-BAA9-D023ED0B7C52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0804" y="5129639"/>
            <a:ext cx="184237" cy="184237"/>
          </a:xfrm>
          <a:prstGeom prst="rect">
            <a:avLst/>
          </a:prstGeom>
        </p:spPr>
      </p:pic>
      <p:pic>
        <p:nvPicPr>
          <p:cNvPr id="340" name="Google Shape;180;p21">
            <a:extLst>
              <a:ext uri="{FF2B5EF4-FFF2-40B4-BE49-F238E27FC236}">
                <a16:creationId xmlns:a16="http://schemas.microsoft.com/office/drawing/2014/main" id="{76179BC9-DE54-5C78-0166-A26A20E981D7}"/>
              </a:ext>
            </a:extLst>
          </p:cNvPr>
          <p:cNvPicPr preferRelativeResize="0"/>
          <p:nvPr/>
        </p:nvPicPr>
        <p:blipFill>
          <a:blip r:embed="rId9">
            <a:alphaModFix/>
          </a:blip>
          <a:stretch>
            <a:fillRect/>
          </a:stretch>
        </p:blipFill>
        <p:spPr>
          <a:xfrm>
            <a:off x="6339099" y="1538565"/>
            <a:ext cx="180299" cy="160612"/>
          </a:xfrm>
          <a:prstGeom prst="rect">
            <a:avLst/>
          </a:prstGeom>
          <a:noFill/>
          <a:ln>
            <a:noFill/>
          </a:ln>
        </p:spPr>
      </p:pic>
      <p:pic>
        <p:nvPicPr>
          <p:cNvPr id="341" name="Рисунок 3">
            <a:extLst>
              <a:ext uri="{FF2B5EF4-FFF2-40B4-BE49-F238E27FC236}">
                <a16:creationId xmlns:a16="http://schemas.microsoft.com/office/drawing/2014/main" id="{0EEB01DF-87AA-1113-A3B3-EA4B27113830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5061" y="2446255"/>
            <a:ext cx="228372" cy="228372"/>
          </a:xfrm>
          <a:prstGeom prst="rect">
            <a:avLst/>
          </a:prstGeom>
        </p:spPr>
      </p:pic>
      <p:pic>
        <p:nvPicPr>
          <p:cNvPr id="342" name="Рисунок 85">
            <a:extLst>
              <a:ext uri="{FF2B5EF4-FFF2-40B4-BE49-F238E27FC236}">
                <a16:creationId xmlns:a16="http://schemas.microsoft.com/office/drawing/2014/main" id="{258F571E-358B-7AE1-93A9-B1D7F66E7F4D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8092" y="2083535"/>
            <a:ext cx="189059" cy="189059"/>
          </a:xfrm>
          <a:prstGeom prst="rect">
            <a:avLst/>
          </a:prstGeom>
        </p:spPr>
      </p:pic>
      <p:sp>
        <p:nvSpPr>
          <p:cNvPr id="343" name="TextBox 342">
            <a:extLst>
              <a:ext uri="{FF2B5EF4-FFF2-40B4-BE49-F238E27FC236}">
                <a16:creationId xmlns:a16="http://schemas.microsoft.com/office/drawing/2014/main" id="{397DEA87-3C71-1C08-7FA3-040E67375C07}"/>
              </a:ext>
            </a:extLst>
          </p:cNvPr>
          <p:cNvSpPr txBox="1"/>
          <p:nvPr/>
        </p:nvSpPr>
        <p:spPr>
          <a:xfrm>
            <a:off x="1100911" y="4621156"/>
            <a:ext cx="2082171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000" dirty="0" smtClean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  <a:sym typeface="Montserrat Medium"/>
              </a:rPr>
              <a:t>старт </a:t>
            </a:r>
            <a:r>
              <a:rPr lang="ru-RU" sz="1000" dirty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  <a:sym typeface="Montserrat Medium"/>
              </a:rPr>
              <a:t>бизнеса онлайн</a:t>
            </a:r>
          </a:p>
        </p:txBody>
      </p:sp>
      <p:sp>
        <p:nvSpPr>
          <p:cNvPr id="344" name="TextBox 343">
            <a:extLst>
              <a:ext uri="{FF2B5EF4-FFF2-40B4-BE49-F238E27FC236}">
                <a16:creationId xmlns:a16="http://schemas.microsoft.com/office/drawing/2014/main" id="{8BF41AB0-D387-CC07-B579-BC9284580292}"/>
              </a:ext>
            </a:extLst>
          </p:cNvPr>
          <p:cNvSpPr txBox="1"/>
          <p:nvPr/>
        </p:nvSpPr>
        <p:spPr>
          <a:xfrm>
            <a:off x="1100911" y="4962125"/>
            <a:ext cx="2281374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 lvl="0" indent="0">
              <a:spcBef>
                <a:spcPts val="361"/>
              </a:spcBef>
              <a:spcAft>
                <a:spcPts val="657"/>
              </a:spcAft>
              <a:buNone/>
            </a:pPr>
            <a:r>
              <a:rPr lang="ru-RU" sz="1000" dirty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  <a:sym typeface="Montserrat Medium"/>
              </a:rPr>
              <a:t>выбор организационно-правовой формы</a:t>
            </a:r>
          </a:p>
        </p:txBody>
      </p:sp>
      <p:sp>
        <p:nvSpPr>
          <p:cNvPr id="345" name="TextBox 344">
            <a:extLst>
              <a:ext uri="{FF2B5EF4-FFF2-40B4-BE49-F238E27FC236}">
                <a16:creationId xmlns:a16="http://schemas.microsoft.com/office/drawing/2014/main" id="{BD16D593-E9CD-906B-A970-747E66326B4E}"/>
              </a:ext>
            </a:extLst>
          </p:cNvPr>
          <p:cNvSpPr txBox="1"/>
          <p:nvPr/>
        </p:nvSpPr>
        <p:spPr>
          <a:xfrm>
            <a:off x="1100911" y="5399195"/>
            <a:ext cx="1933895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 lvl="0" indent="0">
              <a:spcBef>
                <a:spcPts val="361"/>
              </a:spcBef>
              <a:spcAft>
                <a:spcPts val="657"/>
              </a:spcAft>
              <a:buNone/>
            </a:pPr>
            <a:r>
              <a:rPr lang="ru-RU" sz="1000" dirty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  <a:sym typeface="Montserrat Medium"/>
              </a:rPr>
              <a:t>выбор налогового режима</a:t>
            </a:r>
          </a:p>
        </p:txBody>
      </p:sp>
      <p:sp>
        <p:nvSpPr>
          <p:cNvPr id="346" name="TextBox 345">
            <a:extLst>
              <a:ext uri="{FF2B5EF4-FFF2-40B4-BE49-F238E27FC236}">
                <a16:creationId xmlns:a16="http://schemas.microsoft.com/office/drawing/2014/main" id="{17C3617C-29B8-EA47-C834-81E730559F26}"/>
              </a:ext>
            </a:extLst>
          </p:cNvPr>
          <p:cNvSpPr txBox="1"/>
          <p:nvPr/>
        </p:nvSpPr>
        <p:spPr>
          <a:xfrm>
            <a:off x="1100911" y="5710545"/>
            <a:ext cx="2608635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 lvl="0" indent="0">
              <a:spcBef>
                <a:spcPts val="361"/>
              </a:spcBef>
              <a:spcAft>
                <a:spcPts val="657"/>
              </a:spcAft>
              <a:buNone/>
            </a:pPr>
            <a:r>
              <a:rPr lang="ru-RU" sz="1000" dirty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  <a:sym typeface="Montserrat Medium"/>
              </a:rPr>
              <a:t>получение электронной подписи</a:t>
            </a:r>
          </a:p>
        </p:txBody>
      </p:sp>
      <p:sp>
        <p:nvSpPr>
          <p:cNvPr id="347" name="TextBox 346">
            <a:extLst>
              <a:ext uri="{FF2B5EF4-FFF2-40B4-BE49-F238E27FC236}">
                <a16:creationId xmlns:a16="http://schemas.microsoft.com/office/drawing/2014/main" id="{C8F69584-0D5E-07BA-AE8B-C73D83E057CD}"/>
              </a:ext>
            </a:extLst>
          </p:cNvPr>
          <p:cNvSpPr txBox="1"/>
          <p:nvPr/>
        </p:nvSpPr>
        <p:spPr>
          <a:xfrm>
            <a:off x="3849792" y="4596782"/>
            <a:ext cx="1664167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000" dirty="0">
                <a:solidFill>
                  <a:srgbClr val="9165E8"/>
                </a:solidFill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  <a:sym typeface="Montserrat Medium"/>
              </a:rPr>
              <a:t>бизнес-обучение</a:t>
            </a:r>
          </a:p>
        </p:txBody>
      </p:sp>
      <p:sp>
        <p:nvSpPr>
          <p:cNvPr id="348" name="TextBox 347">
            <a:extLst>
              <a:ext uri="{FF2B5EF4-FFF2-40B4-BE49-F238E27FC236}">
                <a16:creationId xmlns:a16="http://schemas.microsoft.com/office/drawing/2014/main" id="{67586557-2EDA-D1C1-2589-DBCEFB7CE5BD}"/>
              </a:ext>
            </a:extLst>
          </p:cNvPr>
          <p:cNvSpPr txBox="1"/>
          <p:nvPr/>
        </p:nvSpPr>
        <p:spPr>
          <a:xfrm>
            <a:off x="3849792" y="4869129"/>
            <a:ext cx="1933688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 lvl="0" indent="0">
              <a:spcBef>
                <a:spcPts val="361"/>
              </a:spcBef>
              <a:spcAft>
                <a:spcPts val="657"/>
              </a:spcAft>
              <a:buNone/>
            </a:pPr>
            <a:r>
              <a:rPr lang="ru-RU" sz="1000" dirty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  <a:sym typeface="Montserrat Medium"/>
              </a:rPr>
              <a:t>конструктор документов</a:t>
            </a:r>
          </a:p>
        </p:txBody>
      </p:sp>
      <p:sp>
        <p:nvSpPr>
          <p:cNvPr id="349" name="TextBox 348">
            <a:extLst>
              <a:ext uri="{FF2B5EF4-FFF2-40B4-BE49-F238E27FC236}">
                <a16:creationId xmlns:a16="http://schemas.microsoft.com/office/drawing/2014/main" id="{2C78B9FE-82B4-4654-43F4-39C5048A5F1B}"/>
              </a:ext>
            </a:extLst>
          </p:cNvPr>
          <p:cNvSpPr txBox="1"/>
          <p:nvPr/>
        </p:nvSpPr>
        <p:spPr>
          <a:xfrm>
            <a:off x="3849792" y="5413823"/>
            <a:ext cx="1933895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 lvl="0" indent="0">
              <a:spcBef>
                <a:spcPts val="361"/>
              </a:spcBef>
              <a:spcAft>
                <a:spcPts val="657"/>
              </a:spcAft>
              <a:buNone/>
            </a:pPr>
            <a:r>
              <a:rPr lang="ru-RU" sz="1000" dirty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  <a:sym typeface="Montserrat Medium"/>
              </a:rPr>
              <a:t>проверка контрагента</a:t>
            </a:r>
          </a:p>
        </p:txBody>
      </p:sp>
      <p:sp>
        <p:nvSpPr>
          <p:cNvPr id="350" name="TextBox 349">
            <a:extLst>
              <a:ext uri="{FF2B5EF4-FFF2-40B4-BE49-F238E27FC236}">
                <a16:creationId xmlns:a16="http://schemas.microsoft.com/office/drawing/2014/main" id="{F2EAF35E-A2EC-6A47-10AE-4F3EF91B4E52}"/>
              </a:ext>
            </a:extLst>
          </p:cNvPr>
          <p:cNvSpPr txBox="1"/>
          <p:nvPr/>
        </p:nvSpPr>
        <p:spPr>
          <a:xfrm>
            <a:off x="3849792" y="5699636"/>
            <a:ext cx="2061485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" sz="1000" dirty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  <a:sym typeface="Montserrat Medium"/>
              </a:rPr>
              <a:t>сервис 360° — подать </a:t>
            </a:r>
            <a:r>
              <a:rPr lang="ru" sz="1000" dirty="0" smtClean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  <a:sym typeface="Montserrat Medium"/>
              </a:rPr>
              <a:t>жалобу</a:t>
            </a:r>
            <a:endParaRPr lang="ru-RU" sz="1000" dirty="0">
              <a:latin typeface="PT Root UI Medium" panose="020B0503020202020204" pitchFamily="34" charset="-52"/>
              <a:ea typeface="PT Root UI Medium" panose="020B0503020202020204" pitchFamily="34" charset="-52"/>
              <a:cs typeface="Segoe UI Semibold" panose="020B0702040204020203" pitchFamily="34" charset="0"/>
              <a:sym typeface="Montserrat Medium"/>
            </a:endParaRPr>
          </a:p>
        </p:txBody>
      </p:sp>
      <p:pic>
        <p:nvPicPr>
          <p:cNvPr id="351" name="Google Shape;193;p21">
            <a:extLst>
              <a:ext uri="{FF2B5EF4-FFF2-40B4-BE49-F238E27FC236}">
                <a16:creationId xmlns:a16="http://schemas.microsoft.com/office/drawing/2014/main" id="{455F7CFD-BA77-6582-B165-4D8540B128F5}"/>
              </a:ext>
            </a:extLst>
          </p:cNvPr>
          <p:cNvPicPr preferRelativeResize="0"/>
          <p:nvPr/>
        </p:nvPicPr>
        <p:blipFill>
          <a:blip r:embed="rId12">
            <a:alphaModFix/>
          </a:blip>
          <a:stretch>
            <a:fillRect/>
          </a:stretch>
        </p:blipFill>
        <p:spPr>
          <a:xfrm>
            <a:off x="830701" y="4961967"/>
            <a:ext cx="186418" cy="233402"/>
          </a:xfrm>
          <a:prstGeom prst="rect">
            <a:avLst/>
          </a:prstGeom>
          <a:noFill/>
          <a:ln>
            <a:noFill/>
          </a:ln>
        </p:spPr>
      </p:pic>
      <p:pic>
        <p:nvPicPr>
          <p:cNvPr id="352" name="Google Shape;178;p21">
            <a:extLst>
              <a:ext uri="{FF2B5EF4-FFF2-40B4-BE49-F238E27FC236}">
                <a16:creationId xmlns:a16="http://schemas.microsoft.com/office/drawing/2014/main" id="{5F7165E4-1549-0903-7BAD-EEC39AFC338D}"/>
              </a:ext>
            </a:extLst>
          </p:cNvPr>
          <p:cNvPicPr preferRelativeResize="0"/>
          <p:nvPr/>
        </p:nvPicPr>
        <p:blipFill>
          <a:blip r:embed="rId13">
            <a:alphaModFix/>
          </a:blip>
          <a:stretch>
            <a:fillRect/>
          </a:stretch>
        </p:blipFill>
        <p:spPr>
          <a:xfrm>
            <a:off x="852184" y="5438336"/>
            <a:ext cx="129197" cy="160475"/>
          </a:xfrm>
          <a:prstGeom prst="rect">
            <a:avLst/>
          </a:prstGeom>
          <a:noFill/>
          <a:ln>
            <a:noFill/>
          </a:ln>
        </p:spPr>
      </p:pic>
      <p:pic>
        <p:nvPicPr>
          <p:cNvPr id="353" name="Google Shape;196;p21">
            <a:extLst>
              <a:ext uri="{FF2B5EF4-FFF2-40B4-BE49-F238E27FC236}">
                <a16:creationId xmlns:a16="http://schemas.microsoft.com/office/drawing/2014/main" id="{01C0C93C-6099-1697-E5A0-ACBF0503EE14}"/>
              </a:ext>
            </a:extLst>
          </p:cNvPr>
          <p:cNvPicPr preferRelativeResize="0"/>
          <p:nvPr/>
        </p:nvPicPr>
        <p:blipFill>
          <a:blip r:embed="rId14">
            <a:alphaModFix/>
          </a:blip>
          <a:stretch>
            <a:fillRect/>
          </a:stretch>
        </p:blipFill>
        <p:spPr>
          <a:xfrm>
            <a:off x="812972" y="5737581"/>
            <a:ext cx="186419" cy="196028"/>
          </a:xfrm>
          <a:prstGeom prst="rect">
            <a:avLst/>
          </a:prstGeom>
          <a:noFill/>
          <a:ln>
            <a:noFill/>
          </a:ln>
        </p:spPr>
      </p:pic>
      <p:pic>
        <p:nvPicPr>
          <p:cNvPr id="354" name="Рисунок 4">
            <a:extLst>
              <a:ext uri="{FF2B5EF4-FFF2-40B4-BE49-F238E27FC236}">
                <a16:creationId xmlns:a16="http://schemas.microsoft.com/office/drawing/2014/main" id="{3030DE5A-0353-5257-544C-F1200AE07118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28691" y="4621538"/>
            <a:ext cx="186418" cy="186418"/>
          </a:xfrm>
          <a:prstGeom prst="rect">
            <a:avLst/>
          </a:prstGeom>
        </p:spPr>
      </p:pic>
      <p:pic>
        <p:nvPicPr>
          <p:cNvPr id="355" name="Google Shape;210;p21">
            <a:extLst>
              <a:ext uri="{FF2B5EF4-FFF2-40B4-BE49-F238E27FC236}">
                <a16:creationId xmlns:a16="http://schemas.microsoft.com/office/drawing/2014/main" id="{CEF95D93-1ABA-861D-8A5C-1977B6C8AD37}"/>
              </a:ext>
            </a:extLst>
          </p:cNvPr>
          <p:cNvPicPr preferRelativeResize="0"/>
          <p:nvPr/>
        </p:nvPicPr>
        <p:blipFill>
          <a:blip r:embed="rId16">
            <a:alphaModFix/>
          </a:blip>
          <a:stretch>
            <a:fillRect/>
          </a:stretch>
        </p:blipFill>
        <p:spPr>
          <a:xfrm>
            <a:off x="3571713" y="4911703"/>
            <a:ext cx="133161" cy="164016"/>
          </a:xfrm>
          <a:prstGeom prst="rect">
            <a:avLst/>
          </a:prstGeom>
          <a:noFill/>
          <a:ln>
            <a:noFill/>
          </a:ln>
        </p:spPr>
      </p:pic>
      <p:pic>
        <p:nvPicPr>
          <p:cNvPr id="356" name="Рисунок 5">
            <a:extLst>
              <a:ext uri="{FF2B5EF4-FFF2-40B4-BE49-F238E27FC236}">
                <a16:creationId xmlns:a16="http://schemas.microsoft.com/office/drawing/2014/main" id="{81E10F16-6351-3DF0-D3A8-FD573B570AF2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55798" y="5444941"/>
            <a:ext cx="195969" cy="195969"/>
          </a:xfrm>
          <a:prstGeom prst="rect">
            <a:avLst/>
          </a:prstGeom>
        </p:spPr>
      </p:pic>
      <p:pic>
        <p:nvPicPr>
          <p:cNvPr id="357" name="Google Shape;208;p21">
            <a:extLst>
              <a:ext uri="{FF2B5EF4-FFF2-40B4-BE49-F238E27FC236}">
                <a16:creationId xmlns:a16="http://schemas.microsoft.com/office/drawing/2014/main" id="{76BD4715-ABB7-1C8E-F59F-4547838D889A}"/>
              </a:ext>
            </a:extLst>
          </p:cNvPr>
          <p:cNvPicPr preferRelativeResize="0"/>
          <p:nvPr/>
        </p:nvPicPr>
        <p:blipFill>
          <a:blip r:embed="rId18">
            <a:alphaModFix/>
          </a:blip>
          <a:stretch>
            <a:fillRect/>
          </a:stretch>
        </p:blipFill>
        <p:spPr>
          <a:xfrm>
            <a:off x="3567459" y="5739537"/>
            <a:ext cx="159620" cy="195969"/>
          </a:xfrm>
          <a:prstGeom prst="rect">
            <a:avLst/>
          </a:prstGeom>
          <a:noFill/>
          <a:ln>
            <a:noFill/>
          </a:ln>
        </p:spPr>
      </p:pic>
      <p:pic>
        <p:nvPicPr>
          <p:cNvPr id="359" name="Рисунок 358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3532546" y="1547261"/>
            <a:ext cx="218279" cy="213913"/>
          </a:xfrm>
          <a:prstGeom prst="rect">
            <a:avLst/>
          </a:prstGeom>
        </p:spPr>
      </p:pic>
      <p:pic>
        <p:nvPicPr>
          <p:cNvPr id="360" name="Рисунок 61">
            <a:extLst>
              <a:ext uri="{FF2B5EF4-FFF2-40B4-BE49-F238E27FC236}">
                <a16:creationId xmlns:a16="http://schemas.microsoft.com/office/drawing/2014/main" id="{ED2A8417-2BC5-887B-EC92-40F89A41BEFB}"/>
              </a:ext>
            </a:extLst>
          </p:cNvPr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01479" y="476250"/>
            <a:ext cx="572813" cy="299463"/>
          </a:xfrm>
          <a:prstGeom prst="rect">
            <a:avLst/>
          </a:prstGeom>
        </p:spPr>
      </p:pic>
      <p:sp>
        <p:nvSpPr>
          <p:cNvPr id="363" name="Rounded Rectangle 18">
            <a:extLst>
              <a:ext uri="{FF2B5EF4-FFF2-40B4-BE49-F238E27FC236}">
                <a16:creationId xmlns:a16="http://schemas.microsoft.com/office/drawing/2014/main" id="{80CCBAB7-7006-C616-67BA-E08BBF05B737}"/>
              </a:ext>
            </a:extLst>
          </p:cNvPr>
          <p:cNvSpPr/>
          <p:nvPr/>
        </p:nvSpPr>
        <p:spPr>
          <a:xfrm>
            <a:off x="6136180" y="3503202"/>
            <a:ext cx="2553685" cy="2765738"/>
          </a:xfrm>
          <a:custGeom>
            <a:avLst/>
            <a:gdLst>
              <a:gd name="connsiteX0" fmla="*/ 0 w 2541503"/>
              <a:gd name="connsiteY0" fmla="*/ 127583 h 2765738"/>
              <a:gd name="connsiteX1" fmla="*/ 127583 w 2541503"/>
              <a:gd name="connsiteY1" fmla="*/ 0 h 2765738"/>
              <a:gd name="connsiteX2" fmla="*/ 2413920 w 2541503"/>
              <a:gd name="connsiteY2" fmla="*/ 0 h 2765738"/>
              <a:gd name="connsiteX3" fmla="*/ 2541503 w 2541503"/>
              <a:gd name="connsiteY3" fmla="*/ 127583 h 2765738"/>
              <a:gd name="connsiteX4" fmla="*/ 2541503 w 2541503"/>
              <a:gd name="connsiteY4" fmla="*/ 2638155 h 2765738"/>
              <a:gd name="connsiteX5" fmla="*/ 2413920 w 2541503"/>
              <a:gd name="connsiteY5" fmla="*/ 2765738 h 2765738"/>
              <a:gd name="connsiteX6" fmla="*/ 127583 w 2541503"/>
              <a:gd name="connsiteY6" fmla="*/ 2765738 h 2765738"/>
              <a:gd name="connsiteX7" fmla="*/ 0 w 2541503"/>
              <a:gd name="connsiteY7" fmla="*/ 2638155 h 2765738"/>
              <a:gd name="connsiteX8" fmla="*/ 0 w 2541503"/>
              <a:gd name="connsiteY8" fmla="*/ 127583 h 2765738"/>
              <a:gd name="connsiteX0" fmla="*/ 7913 w 2549416"/>
              <a:gd name="connsiteY0" fmla="*/ 127583 h 2765738"/>
              <a:gd name="connsiteX1" fmla="*/ 135496 w 2549416"/>
              <a:gd name="connsiteY1" fmla="*/ 0 h 2765738"/>
              <a:gd name="connsiteX2" fmla="*/ 2421833 w 2549416"/>
              <a:gd name="connsiteY2" fmla="*/ 0 h 2765738"/>
              <a:gd name="connsiteX3" fmla="*/ 2549416 w 2549416"/>
              <a:gd name="connsiteY3" fmla="*/ 127583 h 2765738"/>
              <a:gd name="connsiteX4" fmla="*/ 2549416 w 2549416"/>
              <a:gd name="connsiteY4" fmla="*/ 2638155 h 2765738"/>
              <a:gd name="connsiteX5" fmla="*/ 2421833 w 2549416"/>
              <a:gd name="connsiteY5" fmla="*/ 2765738 h 2765738"/>
              <a:gd name="connsiteX6" fmla="*/ 135496 w 2549416"/>
              <a:gd name="connsiteY6" fmla="*/ 2765738 h 2765738"/>
              <a:gd name="connsiteX7" fmla="*/ 7913 w 2549416"/>
              <a:gd name="connsiteY7" fmla="*/ 2638155 h 2765738"/>
              <a:gd name="connsiteX8" fmla="*/ 0 w 2549416"/>
              <a:gd name="connsiteY8" fmla="*/ 1075148 h 2765738"/>
              <a:gd name="connsiteX9" fmla="*/ 7913 w 2549416"/>
              <a:gd name="connsiteY9" fmla="*/ 127583 h 2765738"/>
              <a:gd name="connsiteX0" fmla="*/ 12182 w 2553685"/>
              <a:gd name="connsiteY0" fmla="*/ 127583 h 2765738"/>
              <a:gd name="connsiteX1" fmla="*/ 139765 w 2553685"/>
              <a:gd name="connsiteY1" fmla="*/ 0 h 2765738"/>
              <a:gd name="connsiteX2" fmla="*/ 2426102 w 2553685"/>
              <a:gd name="connsiteY2" fmla="*/ 0 h 2765738"/>
              <a:gd name="connsiteX3" fmla="*/ 2553685 w 2553685"/>
              <a:gd name="connsiteY3" fmla="*/ 127583 h 2765738"/>
              <a:gd name="connsiteX4" fmla="*/ 2553685 w 2553685"/>
              <a:gd name="connsiteY4" fmla="*/ 2638155 h 2765738"/>
              <a:gd name="connsiteX5" fmla="*/ 2426102 w 2553685"/>
              <a:gd name="connsiteY5" fmla="*/ 2765738 h 2765738"/>
              <a:gd name="connsiteX6" fmla="*/ 139765 w 2553685"/>
              <a:gd name="connsiteY6" fmla="*/ 2765738 h 2765738"/>
              <a:gd name="connsiteX7" fmla="*/ 12182 w 2553685"/>
              <a:gd name="connsiteY7" fmla="*/ 2638155 h 2765738"/>
              <a:gd name="connsiteX8" fmla="*/ 4269 w 2553685"/>
              <a:gd name="connsiteY8" fmla="*/ 1360898 h 2765738"/>
              <a:gd name="connsiteX9" fmla="*/ 4269 w 2553685"/>
              <a:gd name="connsiteY9" fmla="*/ 1075148 h 2765738"/>
              <a:gd name="connsiteX10" fmla="*/ 12182 w 2553685"/>
              <a:gd name="connsiteY10" fmla="*/ 127583 h 2765738"/>
              <a:gd name="connsiteX0" fmla="*/ 4269 w 2553685"/>
              <a:gd name="connsiteY0" fmla="*/ 1075148 h 2765738"/>
              <a:gd name="connsiteX1" fmla="*/ 12182 w 2553685"/>
              <a:gd name="connsiteY1" fmla="*/ 127583 h 2765738"/>
              <a:gd name="connsiteX2" fmla="*/ 139765 w 2553685"/>
              <a:gd name="connsiteY2" fmla="*/ 0 h 2765738"/>
              <a:gd name="connsiteX3" fmla="*/ 2426102 w 2553685"/>
              <a:gd name="connsiteY3" fmla="*/ 0 h 2765738"/>
              <a:gd name="connsiteX4" fmla="*/ 2553685 w 2553685"/>
              <a:gd name="connsiteY4" fmla="*/ 127583 h 2765738"/>
              <a:gd name="connsiteX5" fmla="*/ 2553685 w 2553685"/>
              <a:gd name="connsiteY5" fmla="*/ 2638155 h 2765738"/>
              <a:gd name="connsiteX6" fmla="*/ 2426102 w 2553685"/>
              <a:gd name="connsiteY6" fmla="*/ 2765738 h 2765738"/>
              <a:gd name="connsiteX7" fmla="*/ 139765 w 2553685"/>
              <a:gd name="connsiteY7" fmla="*/ 2765738 h 2765738"/>
              <a:gd name="connsiteX8" fmla="*/ 12182 w 2553685"/>
              <a:gd name="connsiteY8" fmla="*/ 2638155 h 2765738"/>
              <a:gd name="connsiteX9" fmla="*/ 4269 w 2553685"/>
              <a:gd name="connsiteY9" fmla="*/ 1360898 h 2765738"/>
              <a:gd name="connsiteX10" fmla="*/ 95709 w 2553685"/>
              <a:gd name="connsiteY10" fmla="*/ 1166588 h 2765738"/>
              <a:gd name="connsiteX0" fmla="*/ 4269 w 2553685"/>
              <a:gd name="connsiteY0" fmla="*/ 1075148 h 2765738"/>
              <a:gd name="connsiteX1" fmla="*/ 12182 w 2553685"/>
              <a:gd name="connsiteY1" fmla="*/ 127583 h 2765738"/>
              <a:gd name="connsiteX2" fmla="*/ 139765 w 2553685"/>
              <a:gd name="connsiteY2" fmla="*/ 0 h 2765738"/>
              <a:gd name="connsiteX3" fmla="*/ 2426102 w 2553685"/>
              <a:gd name="connsiteY3" fmla="*/ 0 h 2765738"/>
              <a:gd name="connsiteX4" fmla="*/ 2553685 w 2553685"/>
              <a:gd name="connsiteY4" fmla="*/ 127583 h 2765738"/>
              <a:gd name="connsiteX5" fmla="*/ 2553685 w 2553685"/>
              <a:gd name="connsiteY5" fmla="*/ 2638155 h 2765738"/>
              <a:gd name="connsiteX6" fmla="*/ 2426102 w 2553685"/>
              <a:gd name="connsiteY6" fmla="*/ 2765738 h 2765738"/>
              <a:gd name="connsiteX7" fmla="*/ 139765 w 2553685"/>
              <a:gd name="connsiteY7" fmla="*/ 2765738 h 2765738"/>
              <a:gd name="connsiteX8" fmla="*/ 12182 w 2553685"/>
              <a:gd name="connsiteY8" fmla="*/ 2638155 h 2765738"/>
              <a:gd name="connsiteX9" fmla="*/ 4269 w 2553685"/>
              <a:gd name="connsiteY9" fmla="*/ 1360898 h 27657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553685" h="2765738">
                <a:moveTo>
                  <a:pt x="4269" y="1075148"/>
                </a:moveTo>
                <a:cubicBezTo>
                  <a:pt x="6907" y="759293"/>
                  <a:pt x="9544" y="443438"/>
                  <a:pt x="12182" y="127583"/>
                </a:cubicBezTo>
                <a:cubicBezTo>
                  <a:pt x="12182" y="57121"/>
                  <a:pt x="69303" y="0"/>
                  <a:pt x="139765" y="0"/>
                </a:cubicBezTo>
                <a:lnTo>
                  <a:pt x="2426102" y="0"/>
                </a:lnTo>
                <a:cubicBezTo>
                  <a:pt x="2496564" y="0"/>
                  <a:pt x="2553685" y="57121"/>
                  <a:pt x="2553685" y="127583"/>
                </a:cubicBezTo>
                <a:lnTo>
                  <a:pt x="2553685" y="2638155"/>
                </a:lnTo>
                <a:cubicBezTo>
                  <a:pt x="2553685" y="2708617"/>
                  <a:pt x="2496564" y="2765738"/>
                  <a:pt x="2426102" y="2765738"/>
                </a:cubicBezTo>
                <a:lnTo>
                  <a:pt x="139765" y="2765738"/>
                </a:lnTo>
                <a:cubicBezTo>
                  <a:pt x="69303" y="2765738"/>
                  <a:pt x="12182" y="2708617"/>
                  <a:pt x="12182" y="2638155"/>
                </a:cubicBezTo>
                <a:cubicBezTo>
                  <a:pt x="-10401" y="2404015"/>
                  <a:pt x="5588" y="1621399"/>
                  <a:pt x="4269" y="1360898"/>
                </a:cubicBezTo>
              </a:path>
            </a:pathLst>
          </a:custGeom>
          <a:noFill/>
          <a:ln>
            <a:solidFill>
              <a:srgbClr val="9165E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364" name="Прямоугольник 92">
            <a:extLst>
              <a:ext uri="{FF2B5EF4-FFF2-40B4-BE49-F238E27FC236}">
                <a16:creationId xmlns:a16="http://schemas.microsoft.com/office/drawing/2014/main" id="{E3A27747-1D06-DCCF-8959-10818868BD79}"/>
              </a:ext>
            </a:extLst>
          </p:cNvPr>
          <p:cNvSpPr/>
          <p:nvPr/>
        </p:nvSpPr>
        <p:spPr>
          <a:xfrm>
            <a:off x="6427450" y="3711340"/>
            <a:ext cx="2060652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defRPr/>
            </a:pPr>
            <a:r>
              <a:rPr lang="ru-RU" sz="1400" b="1" dirty="0">
                <a:solidFill>
                  <a:srgbClr val="FFD633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Бизнес-обучение</a:t>
            </a:r>
          </a:p>
        </p:txBody>
      </p:sp>
      <p:sp>
        <p:nvSpPr>
          <p:cNvPr id="365" name="TextBox 364">
            <a:extLst>
              <a:ext uri="{FF2B5EF4-FFF2-40B4-BE49-F238E27FC236}">
                <a16:creationId xmlns:a16="http://schemas.microsoft.com/office/drawing/2014/main" id="{9A0EF20C-8BAC-3ED9-5412-45BFDF8B478B}"/>
              </a:ext>
            </a:extLst>
          </p:cNvPr>
          <p:cNvSpPr txBox="1"/>
          <p:nvPr/>
        </p:nvSpPr>
        <p:spPr>
          <a:xfrm>
            <a:off x="6607577" y="3998611"/>
            <a:ext cx="1711191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 lvl="0" indent="0">
              <a:spcBef>
                <a:spcPts val="361"/>
              </a:spcBef>
              <a:spcAft>
                <a:spcPts val="657"/>
              </a:spcAft>
              <a:buNone/>
            </a:pPr>
            <a:r>
              <a:rPr lang="ru-RU" sz="1000" dirty="0" smtClean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  <a:sym typeface="Montserrat Medium"/>
              </a:rPr>
              <a:t>экспресс-проверка</a:t>
            </a:r>
            <a:r>
              <a:rPr lang="ru-RU" sz="1000" dirty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  <a:sym typeface="Montserrat Medium"/>
              </a:rPr>
              <a:t/>
            </a:r>
            <a:br>
              <a:rPr lang="ru-RU" sz="1000" dirty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  <a:sym typeface="Montserrat Medium"/>
              </a:rPr>
            </a:br>
            <a:r>
              <a:rPr lang="ru-RU" sz="1000" dirty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  <a:sym typeface="Montserrat Medium"/>
              </a:rPr>
              <a:t>уровня компетенций</a:t>
            </a:r>
          </a:p>
        </p:txBody>
      </p:sp>
      <p:sp>
        <p:nvSpPr>
          <p:cNvPr id="366" name="TextBox 365">
            <a:extLst>
              <a:ext uri="{FF2B5EF4-FFF2-40B4-BE49-F238E27FC236}">
                <a16:creationId xmlns:a16="http://schemas.microsoft.com/office/drawing/2014/main" id="{86FF9BE6-E91D-5306-F254-FE9CDC013CB6}"/>
              </a:ext>
            </a:extLst>
          </p:cNvPr>
          <p:cNvSpPr txBox="1"/>
          <p:nvPr/>
        </p:nvSpPr>
        <p:spPr>
          <a:xfrm>
            <a:off x="6600741" y="4399092"/>
            <a:ext cx="2125635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000" dirty="0" smtClean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  <a:sym typeface="Montserrat Medium"/>
              </a:rPr>
              <a:t>мероприятия онлайн </a:t>
            </a:r>
            <a:r>
              <a:rPr lang="ru-RU" sz="1000" dirty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  <a:sym typeface="Montserrat Medium"/>
              </a:rPr>
              <a:t>и офлайн</a:t>
            </a:r>
          </a:p>
        </p:txBody>
      </p:sp>
      <p:sp>
        <p:nvSpPr>
          <p:cNvPr id="367" name="TextBox 366">
            <a:extLst>
              <a:ext uri="{FF2B5EF4-FFF2-40B4-BE49-F238E27FC236}">
                <a16:creationId xmlns:a16="http://schemas.microsoft.com/office/drawing/2014/main" id="{F791A1DC-6D2B-682B-0DBC-0C28BD9891BC}"/>
              </a:ext>
            </a:extLst>
          </p:cNvPr>
          <p:cNvSpPr txBox="1"/>
          <p:nvPr/>
        </p:nvSpPr>
        <p:spPr>
          <a:xfrm>
            <a:off x="6600741" y="4714765"/>
            <a:ext cx="1780312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000" dirty="0" smtClean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  <a:sym typeface="Montserrat Medium"/>
              </a:rPr>
              <a:t>сфера знаний:</a:t>
            </a:r>
            <a:br>
              <a:rPr lang="ru-RU" sz="1000" dirty="0" smtClean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  <a:sym typeface="Montserrat Medium"/>
              </a:rPr>
            </a:br>
            <a:r>
              <a:rPr lang="ru-RU" sz="1000" dirty="0" err="1" smtClean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  <a:sym typeface="Montserrat Medium"/>
              </a:rPr>
              <a:t>видеолекции</a:t>
            </a:r>
            <a:r>
              <a:rPr lang="ru-RU" sz="1000" dirty="0" smtClean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  <a:sym typeface="Montserrat Medium"/>
              </a:rPr>
              <a:t> </a:t>
            </a:r>
            <a:r>
              <a:rPr lang="ru-RU" sz="1000" dirty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  <a:sym typeface="Montserrat Medium"/>
              </a:rPr>
              <a:t>и курсы</a:t>
            </a:r>
          </a:p>
        </p:txBody>
      </p:sp>
      <p:sp>
        <p:nvSpPr>
          <p:cNvPr id="368" name="TextBox 367">
            <a:extLst>
              <a:ext uri="{FF2B5EF4-FFF2-40B4-BE49-F238E27FC236}">
                <a16:creationId xmlns:a16="http://schemas.microsoft.com/office/drawing/2014/main" id="{F791A1DC-6D2B-682B-0DBC-0C28BD9891BC}"/>
              </a:ext>
            </a:extLst>
          </p:cNvPr>
          <p:cNvSpPr txBox="1"/>
          <p:nvPr/>
        </p:nvSpPr>
        <p:spPr>
          <a:xfrm>
            <a:off x="6600741" y="5162127"/>
            <a:ext cx="1780312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000" dirty="0" smtClean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  <a:sym typeface="Montserrat Medium"/>
              </a:rPr>
              <a:t>наставничество</a:t>
            </a:r>
            <a:endParaRPr lang="ru-RU" sz="1000" dirty="0">
              <a:latin typeface="PT Root UI Medium" panose="020B0503020202020204" pitchFamily="34" charset="-52"/>
              <a:ea typeface="PT Root UI Medium" panose="020B0503020202020204" pitchFamily="34" charset="-52"/>
              <a:cs typeface="Segoe UI Semibold" panose="020B0702040204020203" pitchFamily="34" charset="0"/>
              <a:sym typeface="Montserrat Medium"/>
            </a:endParaRPr>
          </a:p>
        </p:txBody>
      </p:sp>
      <p:sp>
        <p:nvSpPr>
          <p:cNvPr id="369" name="TextBox 368">
            <a:extLst>
              <a:ext uri="{FF2B5EF4-FFF2-40B4-BE49-F238E27FC236}">
                <a16:creationId xmlns:a16="http://schemas.microsoft.com/office/drawing/2014/main" id="{F791A1DC-6D2B-682B-0DBC-0C28BD9891BC}"/>
              </a:ext>
            </a:extLst>
          </p:cNvPr>
          <p:cNvSpPr txBox="1"/>
          <p:nvPr/>
        </p:nvSpPr>
        <p:spPr>
          <a:xfrm>
            <a:off x="6566743" y="5447907"/>
            <a:ext cx="2124050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000" dirty="0" smtClean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  <a:sym typeface="Montserrat Medium"/>
              </a:rPr>
              <a:t>акселерация – </a:t>
            </a:r>
            <a:r>
              <a:rPr lang="ru-RU" sz="1000" dirty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  <a:sym typeface="Montserrat Medium"/>
              </a:rPr>
              <a:t>программы</a:t>
            </a:r>
            <a:br>
              <a:rPr lang="ru-RU" sz="1000" dirty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  <a:sym typeface="Montserrat Medium"/>
              </a:rPr>
            </a:br>
            <a:r>
              <a:rPr lang="ru-RU" sz="1000" dirty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  <a:sym typeface="Montserrat Medium"/>
              </a:rPr>
              <a:t>ускоренного роста </a:t>
            </a:r>
          </a:p>
        </p:txBody>
      </p:sp>
      <p:pic>
        <p:nvPicPr>
          <p:cNvPr id="370" name="Рисунок 369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7172" y="4394866"/>
            <a:ext cx="290752" cy="261994"/>
          </a:xfrm>
          <a:prstGeom prst="rect">
            <a:avLst/>
          </a:prstGeom>
        </p:spPr>
      </p:pic>
      <p:pic>
        <p:nvPicPr>
          <p:cNvPr id="371" name="Рисунок 370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7642" y="4816069"/>
            <a:ext cx="248903" cy="224285"/>
          </a:xfrm>
          <a:prstGeom prst="rect">
            <a:avLst/>
          </a:prstGeom>
        </p:spPr>
      </p:pic>
      <p:pic>
        <p:nvPicPr>
          <p:cNvPr id="372" name="Рисунок 371"/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345" y="5158160"/>
            <a:ext cx="251278" cy="226425"/>
          </a:xfrm>
          <a:prstGeom prst="rect">
            <a:avLst/>
          </a:prstGeom>
        </p:spPr>
      </p:pic>
      <p:pic>
        <p:nvPicPr>
          <p:cNvPr id="373" name="Рисунок 372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9973" y="5584274"/>
            <a:ext cx="176022" cy="148527"/>
          </a:xfrm>
          <a:prstGeom prst="rect">
            <a:avLst/>
          </a:prstGeom>
        </p:spPr>
      </p:pic>
      <p:pic>
        <p:nvPicPr>
          <p:cNvPr id="374" name="Рисунок 373"/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7078" y="4080356"/>
            <a:ext cx="242684" cy="242684"/>
          </a:xfrm>
          <a:prstGeom prst="rect">
            <a:avLst/>
          </a:prstGeom>
        </p:spPr>
      </p:pic>
      <p:sp>
        <p:nvSpPr>
          <p:cNvPr id="375" name="TextBox 374">
            <a:extLst>
              <a:ext uri="{FF2B5EF4-FFF2-40B4-BE49-F238E27FC236}">
                <a16:creationId xmlns:a16="http://schemas.microsoft.com/office/drawing/2014/main" id="{86FF9BE6-E91D-5306-F254-FE9CDC013CB6}"/>
              </a:ext>
            </a:extLst>
          </p:cNvPr>
          <p:cNvSpPr txBox="1"/>
          <p:nvPr/>
        </p:nvSpPr>
        <p:spPr>
          <a:xfrm>
            <a:off x="6600741" y="5925065"/>
            <a:ext cx="1971759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000" dirty="0" smtClean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  <a:sym typeface="Montserrat Medium"/>
              </a:rPr>
              <a:t>бизнес-тренажер</a:t>
            </a:r>
            <a:endParaRPr lang="ru-RU" sz="1000" dirty="0">
              <a:latin typeface="PT Root UI Medium" panose="020B0503020202020204" pitchFamily="34" charset="-52"/>
              <a:ea typeface="PT Root UI Medium" panose="020B0503020202020204" pitchFamily="34" charset="-52"/>
              <a:cs typeface="Segoe UI Semibold" panose="020B0702040204020203" pitchFamily="34" charset="0"/>
              <a:sym typeface="Montserrat Medium"/>
            </a:endParaRPr>
          </a:p>
        </p:txBody>
      </p:sp>
      <p:pic>
        <p:nvPicPr>
          <p:cNvPr id="376" name="Рисунок 375"/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2178" y="5895862"/>
            <a:ext cx="255746" cy="255746"/>
          </a:xfrm>
          <a:prstGeom prst="rect">
            <a:avLst/>
          </a:prstGeom>
        </p:spPr>
      </p:pic>
      <p:pic>
        <p:nvPicPr>
          <p:cNvPr id="377" name="Рисунок 376"/>
          <p:cNvPicPr>
            <a:picLocks noChangeAspect="1"/>
          </p:cNvPicPr>
          <p:nvPr/>
        </p:nvPicPr>
        <p:blipFill>
          <a:blip r:embed="rId2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96842" y="499975"/>
            <a:ext cx="1138808" cy="256748"/>
          </a:xfrm>
          <a:prstGeom prst="rect">
            <a:avLst/>
          </a:prstGeom>
        </p:spPr>
      </p:pic>
      <p:pic>
        <p:nvPicPr>
          <p:cNvPr id="378" name="Рисунок 377"/>
          <p:cNvPicPr>
            <a:picLocks noChangeAspect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5410" y="1764064"/>
            <a:ext cx="200250" cy="200250"/>
          </a:xfrm>
          <a:prstGeom prst="rect">
            <a:avLst/>
          </a:prstGeom>
        </p:spPr>
      </p:pic>
      <p:pic>
        <p:nvPicPr>
          <p:cNvPr id="379" name="Рисунок 378">
            <a:extLst>
              <a:ext uri="{FF2B5EF4-FFF2-40B4-BE49-F238E27FC236}">
                <a16:creationId xmlns:a16="http://schemas.microsoft.com/office/drawing/2014/main" id="{B3B80321-39AF-1F44-C978-9527AE990CEF}"/>
              </a:ext>
            </a:extLst>
          </p:cNvPr>
          <p:cNvPicPr>
            <a:picLocks noChangeAspect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1595" y="2503475"/>
            <a:ext cx="178266" cy="148555"/>
          </a:xfrm>
          <a:prstGeom prst="rect">
            <a:avLst/>
          </a:prstGeom>
        </p:spPr>
      </p:pic>
      <p:sp>
        <p:nvSpPr>
          <p:cNvPr id="380" name="TextBox 19">
            <a:extLst>
              <a:ext uri="{FF2B5EF4-FFF2-40B4-BE49-F238E27FC236}">
                <a16:creationId xmlns:a16="http://schemas.microsoft.com/office/drawing/2014/main" id="{19F3B39B-B813-AA08-9475-609D4BAC9E93}"/>
              </a:ext>
            </a:extLst>
          </p:cNvPr>
          <p:cNvSpPr txBox="1"/>
          <p:nvPr/>
        </p:nvSpPr>
        <p:spPr>
          <a:xfrm>
            <a:off x="3795370" y="2381687"/>
            <a:ext cx="228137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000" dirty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  <a:sym typeface="Montserrat Medium"/>
              </a:rPr>
              <a:t>внесение изменений в ЕГРЮЛ</a:t>
            </a:r>
            <a:r>
              <a:rPr lang="en-US" sz="1000" dirty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  <a:sym typeface="Montserrat Medium"/>
              </a:rPr>
              <a:t>/</a:t>
            </a:r>
            <a:r>
              <a:rPr lang="ru-RU" sz="1000" dirty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  <a:sym typeface="Montserrat Medium"/>
              </a:rPr>
              <a:t>ЕГРИП</a:t>
            </a:r>
          </a:p>
        </p:txBody>
      </p:sp>
      <p:pic>
        <p:nvPicPr>
          <p:cNvPr id="381" name="Рисунок 380">
            <a:extLst>
              <a:ext uri="{FF2B5EF4-FFF2-40B4-BE49-F238E27FC236}">
                <a16:creationId xmlns:a16="http://schemas.microsoft.com/office/drawing/2014/main" id="{13FB0B9F-2095-F36A-1599-08470322F5BB}"/>
              </a:ext>
            </a:extLst>
          </p:cNvPr>
          <p:cNvPicPr>
            <a:picLocks noChangeAspect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6427" y="2820250"/>
            <a:ext cx="190340" cy="178687"/>
          </a:xfrm>
          <a:prstGeom prst="rect">
            <a:avLst/>
          </a:prstGeom>
        </p:spPr>
      </p:pic>
      <p:sp>
        <p:nvSpPr>
          <p:cNvPr id="382" name="TextBox 27">
            <a:extLst>
              <a:ext uri="{FF2B5EF4-FFF2-40B4-BE49-F238E27FC236}">
                <a16:creationId xmlns:a16="http://schemas.microsoft.com/office/drawing/2014/main" id="{2113F663-C562-1179-9D19-CFB0214CFF1D}"/>
              </a:ext>
            </a:extLst>
          </p:cNvPr>
          <p:cNvSpPr txBox="1"/>
          <p:nvPr/>
        </p:nvSpPr>
        <p:spPr>
          <a:xfrm>
            <a:off x="3795370" y="2716731"/>
            <a:ext cx="2061485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000" dirty="0" err="1" smtClean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  <a:sym typeface="Montserrat Medium"/>
              </a:rPr>
              <a:t>самообследование</a:t>
            </a:r>
            <a:r>
              <a:rPr lang="ru-RU" sz="1000" dirty="0" smtClean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  <a:sym typeface="Montserrat Medium"/>
              </a:rPr>
              <a:t/>
            </a:r>
            <a:br>
              <a:rPr lang="ru-RU" sz="1000" dirty="0" smtClean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  <a:sym typeface="Montserrat Medium"/>
              </a:rPr>
            </a:br>
            <a:r>
              <a:rPr lang="ru-RU" sz="1000" dirty="0" smtClean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  <a:sym typeface="Montserrat Medium"/>
              </a:rPr>
              <a:t>по </a:t>
            </a:r>
            <a:r>
              <a:rPr lang="ru-RU" sz="1000" dirty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  <a:sym typeface="Montserrat Medium"/>
              </a:rPr>
              <a:t>обязательным требованиям</a:t>
            </a:r>
          </a:p>
        </p:txBody>
      </p:sp>
      <p:pic>
        <p:nvPicPr>
          <p:cNvPr id="383" name="Рисунок 382">
            <a:extLst>
              <a:ext uri="{FF2B5EF4-FFF2-40B4-BE49-F238E27FC236}">
                <a16:creationId xmlns:a16="http://schemas.microsoft.com/office/drawing/2014/main" id="{9D39FB59-D914-4F4A-D549-EB957DBF5F53}"/>
              </a:ext>
            </a:extLst>
          </p:cNvPr>
          <p:cNvPicPr>
            <a:picLocks noChangeAspect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3380" y="5553666"/>
            <a:ext cx="188123" cy="188123"/>
          </a:xfrm>
          <a:prstGeom prst="rect">
            <a:avLst/>
          </a:prstGeom>
        </p:spPr>
      </p:pic>
      <p:sp>
        <p:nvSpPr>
          <p:cNvPr id="384" name="TextBox 41">
            <a:extLst>
              <a:ext uri="{FF2B5EF4-FFF2-40B4-BE49-F238E27FC236}">
                <a16:creationId xmlns:a16="http://schemas.microsoft.com/office/drawing/2014/main" id="{39230367-7362-5F85-5D2C-A176DCAC5152}"/>
              </a:ext>
            </a:extLst>
          </p:cNvPr>
          <p:cNvSpPr txBox="1"/>
          <p:nvPr/>
        </p:nvSpPr>
        <p:spPr>
          <a:xfrm>
            <a:off x="9349858" y="5511737"/>
            <a:ext cx="1933895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2786" lvl="0" indent="0">
              <a:spcBef>
                <a:spcPts val="361"/>
              </a:spcBef>
              <a:spcAft>
                <a:spcPts val="657"/>
              </a:spcAft>
              <a:buNone/>
            </a:pPr>
            <a:r>
              <a:rPr lang="ru-RU" sz="1000" dirty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  <a:sym typeface="Montserrat Medium"/>
              </a:rPr>
              <a:t>база знаний</a:t>
            </a:r>
          </a:p>
        </p:txBody>
      </p:sp>
      <p:pic>
        <p:nvPicPr>
          <p:cNvPr id="385" name="Рисунок 384">
            <a:extLst>
              <a:ext uri="{FF2B5EF4-FFF2-40B4-BE49-F238E27FC236}">
                <a16:creationId xmlns:a16="http://schemas.microsoft.com/office/drawing/2014/main" id="{F77D241C-65E2-B55A-25CF-30FA48C9000D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7248" y="2870345"/>
            <a:ext cx="235547" cy="235547"/>
          </a:xfrm>
          <a:prstGeom prst="rect">
            <a:avLst/>
          </a:prstGeom>
        </p:spPr>
      </p:pic>
      <p:sp>
        <p:nvSpPr>
          <p:cNvPr id="386" name="TextBox 30">
            <a:extLst>
              <a:ext uri="{FF2B5EF4-FFF2-40B4-BE49-F238E27FC236}">
                <a16:creationId xmlns:a16="http://schemas.microsoft.com/office/drawing/2014/main" id="{B5AB656C-2A71-0A0D-137E-B93FD9A3A18C}"/>
              </a:ext>
            </a:extLst>
          </p:cNvPr>
          <p:cNvSpPr txBox="1"/>
          <p:nvPr/>
        </p:nvSpPr>
        <p:spPr>
          <a:xfrm>
            <a:off x="6574133" y="2778071"/>
            <a:ext cx="1913969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2786" lvl="0" indent="0">
              <a:spcBef>
                <a:spcPts val="361"/>
              </a:spcBef>
              <a:spcAft>
                <a:spcPts val="657"/>
              </a:spcAft>
              <a:buNone/>
            </a:pPr>
            <a:r>
              <a:rPr lang="ru-RU" sz="1000" dirty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  <a:sym typeface="Montserrat Medium"/>
              </a:rPr>
              <a:t>подбор и получение микрофинансирования</a:t>
            </a:r>
          </a:p>
        </p:txBody>
      </p:sp>
      <p:pic>
        <p:nvPicPr>
          <p:cNvPr id="387" name="Рисунок 386">
            <a:extLst>
              <a:ext uri="{FF2B5EF4-FFF2-40B4-BE49-F238E27FC236}">
                <a16:creationId xmlns:a16="http://schemas.microsoft.com/office/drawing/2014/main" id="{33D6574C-AE0A-F1F2-75DD-DF6534A1CDDB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786" y="4632171"/>
            <a:ext cx="227720" cy="227720"/>
          </a:xfrm>
          <a:prstGeom prst="rect">
            <a:avLst/>
          </a:prstGeom>
        </p:spPr>
      </p:pic>
      <p:pic>
        <p:nvPicPr>
          <p:cNvPr id="388" name="Рисунок 387">
            <a:extLst>
              <a:ext uri="{FF2B5EF4-FFF2-40B4-BE49-F238E27FC236}">
                <a16:creationId xmlns:a16="http://schemas.microsoft.com/office/drawing/2014/main" id="{E69646A8-00D2-11B7-C2C7-CE46806EF279}"/>
              </a:ext>
            </a:extLst>
          </p:cNvPr>
          <p:cNvPicPr>
            <a:picLocks noChangeAspect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0719" y="5177149"/>
            <a:ext cx="197386" cy="186213"/>
          </a:xfrm>
          <a:prstGeom prst="rect">
            <a:avLst/>
          </a:prstGeom>
        </p:spPr>
      </p:pic>
      <p:sp>
        <p:nvSpPr>
          <p:cNvPr id="389" name="TextBox 388">
            <a:extLst>
              <a:ext uri="{FF2B5EF4-FFF2-40B4-BE49-F238E27FC236}">
                <a16:creationId xmlns:a16="http://schemas.microsoft.com/office/drawing/2014/main" id="{2C78B9FE-82B4-4654-43F4-39C5048A5F1B}"/>
              </a:ext>
            </a:extLst>
          </p:cNvPr>
          <p:cNvSpPr txBox="1"/>
          <p:nvPr/>
        </p:nvSpPr>
        <p:spPr>
          <a:xfrm>
            <a:off x="3839414" y="5141476"/>
            <a:ext cx="1933895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 lvl="0" indent="0">
              <a:spcBef>
                <a:spcPts val="361"/>
              </a:spcBef>
              <a:spcAft>
                <a:spcPts val="657"/>
              </a:spcAft>
              <a:buNone/>
            </a:pPr>
            <a:r>
              <a:rPr lang="ru-RU" sz="1000" dirty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  <a:sym typeface="Montserrat Medium"/>
              </a:rPr>
              <a:t>правовой гид</a:t>
            </a:r>
          </a:p>
        </p:txBody>
      </p:sp>
      <p:pic>
        <p:nvPicPr>
          <p:cNvPr id="390" name="Рисунок 389"/>
          <p:cNvPicPr>
            <a:picLocks noChangeAspect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53249" y="4081168"/>
            <a:ext cx="149583" cy="138077"/>
          </a:xfrm>
          <a:prstGeom prst="rect">
            <a:avLst/>
          </a:prstGeom>
        </p:spPr>
      </p:pic>
      <p:sp>
        <p:nvSpPr>
          <p:cNvPr id="391" name="TextBox 390">
            <a:extLst>
              <a:ext uri="{FF2B5EF4-FFF2-40B4-BE49-F238E27FC236}">
                <a16:creationId xmlns:a16="http://schemas.microsoft.com/office/drawing/2014/main" id="{397DEA87-3C71-1C08-7FA3-040E67375C07}"/>
              </a:ext>
            </a:extLst>
          </p:cNvPr>
          <p:cNvSpPr txBox="1"/>
          <p:nvPr/>
        </p:nvSpPr>
        <p:spPr>
          <a:xfrm>
            <a:off x="3855366" y="4040841"/>
            <a:ext cx="2082171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000" dirty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  <a:sym typeface="Montserrat Medium"/>
              </a:rPr>
              <a:t>и</a:t>
            </a:r>
            <a:r>
              <a:rPr lang="ru-RU" sz="1000" dirty="0" smtClean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  <a:sym typeface="Montserrat Medium"/>
              </a:rPr>
              <a:t>мущество для бизнеса</a:t>
            </a:r>
            <a:endParaRPr lang="ru-RU" sz="1000" dirty="0">
              <a:latin typeface="PT Root UI Medium" panose="020B0503020202020204" pitchFamily="34" charset="-52"/>
              <a:ea typeface="PT Root UI Medium" panose="020B0503020202020204" pitchFamily="34" charset="-52"/>
              <a:cs typeface="Segoe UI Semibold" panose="020B0702040204020203" pitchFamily="34" charset="0"/>
              <a:sym typeface="Montserrat Medium"/>
            </a:endParaRPr>
          </a:p>
        </p:txBody>
      </p:sp>
      <p:sp>
        <p:nvSpPr>
          <p:cNvPr id="392" name="TextBox 391">
            <a:extLst>
              <a:ext uri="{FF2B5EF4-FFF2-40B4-BE49-F238E27FC236}">
                <a16:creationId xmlns:a16="http://schemas.microsoft.com/office/drawing/2014/main" id="{C8F69584-0D5E-07BA-AE8B-C73D83E057CD}"/>
              </a:ext>
            </a:extLst>
          </p:cNvPr>
          <p:cNvSpPr txBox="1"/>
          <p:nvPr/>
        </p:nvSpPr>
        <p:spPr>
          <a:xfrm>
            <a:off x="3849791" y="4331620"/>
            <a:ext cx="1664167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000" dirty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  <a:sym typeface="Montserrat Medium"/>
              </a:rPr>
              <a:t>п</a:t>
            </a:r>
            <a:r>
              <a:rPr lang="ru-RU" sz="1000" dirty="0" smtClean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  <a:sym typeface="Montserrat Medium"/>
              </a:rPr>
              <a:t>окупка франшизы</a:t>
            </a:r>
            <a:endParaRPr lang="ru-RU" sz="1000" dirty="0">
              <a:latin typeface="PT Root UI Medium" panose="020B0503020202020204" pitchFamily="34" charset="-52"/>
              <a:ea typeface="PT Root UI Medium" panose="020B0503020202020204" pitchFamily="34" charset="-52"/>
              <a:cs typeface="Segoe UI Semibold" panose="020B0702040204020203" pitchFamily="34" charset="0"/>
              <a:sym typeface="Montserrat Medium"/>
            </a:endParaRPr>
          </a:p>
        </p:txBody>
      </p:sp>
      <p:pic>
        <p:nvPicPr>
          <p:cNvPr id="393" name="Рисунок 392"/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1814" y="4296200"/>
            <a:ext cx="272808" cy="272808"/>
          </a:xfrm>
          <a:prstGeom prst="rect">
            <a:avLst/>
          </a:prstGeom>
        </p:spPr>
      </p:pic>
      <p:sp>
        <p:nvSpPr>
          <p:cNvPr id="394" name="Rounded Rectangle 79">
            <a:extLst>
              <a:ext uri="{FF2B5EF4-FFF2-40B4-BE49-F238E27FC236}">
                <a16:creationId xmlns:a16="http://schemas.microsoft.com/office/drawing/2014/main" id="{781139E3-56E1-F975-CFD8-8A44E25EBB8C}"/>
              </a:ext>
            </a:extLst>
          </p:cNvPr>
          <p:cNvSpPr/>
          <p:nvPr/>
        </p:nvSpPr>
        <p:spPr>
          <a:xfrm>
            <a:off x="481164" y="1092491"/>
            <a:ext cx="2541504" cy="2261380"/>
          </a:xfrm>
          <a:prstGeom prst="roundRect">
            <a:avLst>
              <a:gd name="adj" fmla="val 6275"/>
            </a:avLst>
          </a:prstGeom>
          <a:noFill/>
          <a:ln>
            <a:solidFill>
              <a:srgbClr val="19191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395" name="Прямоугольник 70">
            <a:extLst>
              <a:ext uri="{FF2B5EF4-FFF2-40B4-BE49-F238E27FC236}">
                <a16:creationId xmlns:a16="http://schemas.microsoft.com/office/drawing/2014/main" id="{BC7023B2-D387-1868-454F-ACF6835B24F5}"/>
              </a:ext>
            </a:extLst>
          </p:cNvPr>
          <p:cNvSpPr/>
          <p:nvPr/>
        </p:nvSpPr>
        <p:spPr>
          <a:xfrm>
            <a:off x="731436" y="1259416"/>
            <a:ext cx="2293887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Меры поддержки</a:t>
            </a:r>
          </a:p>
        </p:txBody>
      </p:sp>
      <p:sp>
        <p:nvSpPr>
          <p:cNvPr id="396" name="TextBox 395">
            <a:extLst>
              <a:ext uri="{FF2B5EF4-FFF2-40B4-BE49-F238E27FC236}">
                <a16:creationId xmlns:a16="http://schemas.microsoft.com/office/drawing/2014/main" id="{64ABF9EE-4820-F84F-C419-F98458CF77DB}"/>
              </a:ext>
            </a:extLst>
          </p:cNvPr>
          <p:cNvSpPr txBox="1"/>
          <p:nvPr/>
        </p:nvSpPr>
        <p:spPr>
          <a:xfrm>
            <a:off x="1101285" y="1596123"/>
            <a:ext cx="1846829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 lvl="0" indent="0">
              <a:buNone/>
            </a:pPr>
            <a:r>
              <a:rPr lang="ru-RU" sz="1000" dirty="0" smtClean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  <a:sym typeface="Montserrat Medium"/>
              </a:rPr>
              <a:t>меры поддержки</a:t>
            </a:r>
            <a:br>
              <a:rPr lang="ru-RU" sz="1000" dirty="0" smtClean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  <a:sym typeface="Montserrat Medium"/>
              </a:rPr>
            </a:br>
            <a:r>
              <a:rPr lang="ru-RU" sz="1000" dirty="0" smtClean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  <a:sym typeface="Montserrat Medium"/>
              </a:rPr>
              <a:t>бизнеса</a:t>
            </a:r>
            <a:endParaRPr lang="ru-RU" sz="1000" dirty="0">
              <a:latin typeface="PT Root UI Medium" panose="020B0503020202020204" pitchFamily="34" charset="-52"/>
              <a:ea typeface="PT Root UI Medium" panose="020B0503020202020204" pitchFamily="34" charset="-52"/>
              <a:cs typeface="Segoe UI Semibold" panose="020B0702040204020203" pitchFamily="34" charset="0"/>
              <a:sym typeface="Montserrat Medium"/>
            </a:endParaRPr>
          </a:p>
        </p:txBody>
      </p:sp>
      <p:pic>
        <p:nvPicPr>
          <p:cNvPr id="397" name="Google Shape;181;p21">
            <a:extLst>
              <a:ext uri="{FF2B5EF4-FFF2-40B4-BE49-F238E27FC236}">
                <a16:creationId xmlns:a16="http://schemas.microsoft.com/office/drawing/2014/main" id="{0B6CADE4-9323-3D8A-D240-33515F9D0373}"/>
              </a:ext>
            </a:extLst>
          </p:cNvPr>
          <p:cNvPicPr preferRelativeResize="0"/>
          <p:nvPr/>
        </p:nvPicPr>
        <p:blipFill>
          <a:blip r:embed="rId37">
            <a:alphaModFix/>
          </a:blip>
          <a:stretch>
            <a:fillRect/>
          </a:stretch>
        </p:blipFill>
        <p:spPr>
          <a:xfrm>
            <a:off x="846515" y="1682418"/>
            <a:ext cx="215885" cy="180495"/>
          </a:xfrm>
          <a:prstGeom prst="rect">
            <a:avLst/>
          </a:prstGeom>
          <a:noFill/>
          <a:ln>
            <a:noFill/>
          </a:ln>
        </p:spPr>
      </p:pic>
      <p:pic>
        <p:nvPicPr>
          <p:cNvPr id="398" name="Рисунок 397">
            <a:extLst>
              <a:ext uri="{FF2B5EF4-FFF2-40B4-BE49-F238E27FC236}">
                <a16:creationId xmlns:a16="http://schemas.microsoft.com/office/drawing/2014/main" id="{A41A55C8-F836-082D-A530-E2C3927D21A4}"/>
              </a:ext>
            </a:extLst>
          </p:cNvPr>
          <p:cNvPicPr>
            <a:picLocks noChangeAspect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5620" y="2258203"/>
            <a:ext cx="215445" cy="215445"/>
          </a:xfrm>
          <a:prstGeom prst="rect">
            <a:avLst/>
          </a:prstGeom>
        </p:spPr>
      </p:pic>
      <p:sp>
        <p:nvSpPr>
          <p:cNvPr id="399" name="TextBox 34">
            <a:extLst>
              <a:ext uri="{FF2B5EF4-FFF2-40B4-BE49-F238E27FC236}">
                <a16:creationId xmlns:a16="http://schemas.microsoft.com/office/drawing/2014/main" id="{ED3E502C-E7EB-4758-F571-AC3F9E7C285D}"/>
              </a:ext>
            </a:extLst>
          </p:cNvPr>
          <p:cNvSpPr txBox="1"/>
          <p:nvPr/>
        </p:nvSpPr>
        <p:spPr>
          <a:xfrm>
            <a:off x="1120514" y="2070471"/>
            <a:ext cx="1652403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2786" lvl="0" indent="0">
              <a:spcBef>
                <a:spcPts val="361"/>
              </a:spcBef>
              <a:spcAft>
                <a:spcPts val="657"/>
              </a:spcAft>
              <a:buNone/>
            </a:pPr>
            <a:r>
              <a:rPr lang="ru-RU" sz="1000" dirty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  <a:sym typeface="Montserrat Medium"/>
              </a:rPr>
              <a:t>поддержка предпринимателей новых регионов</a:t>
            </a:r>
          </a:p>
        </p:txBody>
      </p:sp>
      <p:sp>
        <p:nvSpPr>
          <p:cNvPr id="400" name="TextBox 34">
            <a:extLst>
              <a:ext uri="{FF2B5EF4-FFF2-40B4-BE49-F238E27FC236}">
                <a16:creationId xmlns:a16="http://schemas.microsoft.com/office/drawing/2014/main" id="{ED3E502C-E7EB-4758-F571-AC3F9E7C285D}"/>
              </a:ext>
            </a:extLst>
          </p:cNvPr>
          <p:cNvSpPr txBox="1"/>
          <p:nvPr/>
        </p:nvSpPr>
        <p:spPr>
          <a:xfrm>
            <a:off x="1120514" y="2668662"/>
            <a:ext cx="1652403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2786" lvl="0" indent="0">
              <a:spcBef>
                <a:spcPts val="361"/>
              </a:spcBef>
              <a:spcAft>
                <a:spcPts val="657"/>
              </a:spcAft>
              <a:buNone/>
            </a:pPr>
            <a:r>
              <a:rPr lang="ru-RU" sz="1000" dirty="0" smtClean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  <a:sym typeface="Montserrat Medium"/>
              </a:rPr>
              <a:t>экспресс-консультации по поддержке бизнеса</a:t>
            </a:r>
            <a:endParaRPr lang="ru-RU" sz="1000" dirty="0">
              <a:latin typeface="PT Root UI Medium" panose="020B0503020202020204" pitchFamily="34" charset="-52"/>
              <a:ea typeface="PT Root UI Medium" panose="020B0503020202020204" pitchFamily="34" charset="-52"/>
              <a:cs typeface="Segoe UI Semibold" panose="020B0702040204020203" pitchFamily="34" charset="0"/>
              <a:sym typeface="Montserrat Medium"/>
            </a:endParaRPr>
          </a:p>
        </p:txBody>
      </p:sp>
      <p:pic>
        <p:nvPicPr>
          <p:cNvPr id="401" name="Рисунок 400"/>
          <p:cNvPicPr>
            <a:picLocks noChangeAspect="1"/>
          </p:cNvPicPr>
          <p:nvPr/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0149" y="2779197"/>
            <a:ext cx="209954" cy="209954"/>
          </a:xfrm>
          <a:prstGeom prst="rect">
            <a:avLst/>
          </a:prstGeom>
        </p:spPr>
      </p:pic>
      <p:sp>
        <p:nvSpPr>
          <p:cNvPr id="402" name="Rounded Rectangle 18">
            <a:extLst>
              <a:ext uri="{FF2B5EF4-FFF2-40B4-BE49-F238E27FC236}">
                <a16:creationId xmlns:a16="http://schemas.microsoft.com/office/drawing/2014/main" id="{80CCBAB7-7006-C616-67BA-E08BBF05B737}"/>
              </a:ext>
            </a:extLst>
          </p:cNvPr>
          <p:cNvSpPr/>
          <p:nvPr/>
        </p:nvSpPr>
        <p:spPr>
          <a:xfrm>
            <a:off x="8842400" y="1094962"/>
            <a:ext cx="2847692" cy="2245179"/>
          </a:xfrm>
          <a:prstGeom prst="roundRect">
            <a:avLst>
              <a:gd name="adj" fmla="val 5847"/>
            </a:avLst>
          </a:prstGeom>
          <a:noFill/>
          <a:ln>
            <a:solidFill>
              <a:srgbClr val="19191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403" name="Прямоугольник 92">
            <a:extLst>
              <a:ext uri="{FF2B5EF4-FFF2-40B4-BE49-F238E27FC236}">
                <a16:creationId xmlns:a16="http://schemas.microsoft.com/office/drawing/2014/main" id="{E3A27747-1D06-DCCF-8959-10818868BD79}"/>
              </a:ext>
            </a:extLst>
          </p:cNvPr>
          <p:cNvSpPr/>
          <p:nvPr/>
        </p:nvSpPr>
        <p:spPr>
          <a:xfrm>
            <a:off x="9081048" y="1261023"/>
            <a:ext cx="221312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Продвижение и сбыт</a:t>
            </a:r>
          </a:p>
        </p:txBody>
      </p:sp>
      <p:sp>
        <p:nvSpPr>
          <p:cNvPr id="404" name="TextBox 403">
            <a:extLst>
              <a:ext uri="{FF2B5EF4-FFF2-40B4-BE49-F238E27FC236}">
                <a16:creationId xmlns:a16="http://schemas.microsoft.com/office/drawing/2014/main" id="{9A0EF20C-8BAC-3ED9-5412-45BFDF8B478B}"/>
              </a:ext>
            </a:extLst>
          </p:cNvPr>
          <p:cNvSpPr txBox="1"/>
          <p:nvPr/>
        </p:nvSpPr>
        <p:spPr>
          <a:xfrm>
            <a:off x="9380200" y="1485369"/>
            <a:ext cx="1541944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 lvl="0" indent="0">
              <a:spcBef>
                <a:spcPts val="361"/>
              </a:spcBef>
              <a:spcAft>
                <a:spcPts val="657"/>
              </a:spcAft>
              <a:buNone/>
            </a:pPr>
            <a:r>
              <a:rPr lang="ru-RU" sz="1000" dirty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  <a:sym typeface="Montserrat Medium"/>
              </a:rPr>
              <a:t>производственная кооперация и сбыт</a:t>
            </a:r>
          </a:p>
        </p:txBody>
      </p:sp>
      <p:sp>
        <p:nvSpPr>
          <p:cNvPr id="405" name="TextBox 404">
            <a:extLst>
              <a:ext uri="{FF2B5EF4-FFF2-40B4-BE49-F238E27FC236}">
                <a16:creationId xmlns:a16="http://schemas.microsoft.com/office/drawing/2014/main" id="{86FF9BE6-E91D-5306-F254-FE9CDC013CB6}"/>
              </a:ext>
            </a:extLst>
          </p:cNvPr>
          <p:cNvSpPr txBox="1"/>
          <p:nvPr/>
        </p:nvSpPr>
        <p:spPr>
          <a:xfrm>
            <a:off x="9380200" y="1885850"/>
            <a:ext cx="1604228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000" dirty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  <a:sym typeface="Montserrat Medium"/>
              </a:rPr>
              <a:t>доступ к закупкам </a:t>
            </a:r>
            <a:r>
              <a:rPr lang="ru-RU" sz="1000" dirty="0" smtClean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  <a:sym typeface="Montserrat Medium"/>
              </a:rPr>
              <a:t>крупных госкомпаний</a:t>
            </a:r>
            <a:endParaRPr lang="ru-RU" sz="1000" dirty="0">
              <a:latin typeface="PT Root UI Medium" panose="020B0503020202020204" pitchFamily="34" charset="-52"/>
              <a:ea typeface="PT Root UI Medium" panose="020B0503020202020204" pitchFamily="34" charset="-52"/>
              <a:cs typeface="Segoe UI Semibold" panose="020B0702040204020203" pitchFamily="34" charset="0"/>
              <a:sym typeface="Montserrat Medium"/>
            </a:endParaRPr>
          </a:p>
        </p:txBody>
      </p:sp>
      <p:sp>
        <p:nvSpPr>
          <p:cNvPr id="406" name="TextBox 405">
            <a:extLst>
              <a:ext uri="{FF2B5EF4-FFF2-40B4-BE49-F238E27FC236}">
                <a16:creationId xmlns:a16="http://schemas.microsoft.com/office/drawing/2014/main" id="{F791A1DC-6D2B-682B-0DBC-0C28BD9891BC}"/>
              </a:ext>
            </a:extLst>
          </p:cNvPr>
          <p:cNvSpPr txBox="1"/>
          <p:nvPr/>
        </p:nvSpPr>
        <p:spPr>
          <a:xfrm>
            <a:off x="9380199" y="2325826"/>
            <a:ext cx="1933895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000" dirty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  <a:sym typeface="Montserrat Medium"/>
              </a:rPr>
              <a:t>запуск </a:t>
            </a:r>
            <a:r>
              <a:rPr lang="ru-RU" sz="1000" dirty="0" smtClean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  <a:sym typeface="Montserrat Medium"/>
              </a:rPr>
              <a:t>рекламы</a:t>
            </a:r>
            <a:br>
              <a:rPr lang="ru-RU" sz="1000" dirty="0" smtClean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  <a:sym typeface="Montserrat Medium"/>
              </a:rPr>
            </a:br>
            <a:r>
              <a:rPr lang="ru-RU" sz="1000" dirty="0" smtClean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  <a:sym typeface="Montserrat Medium"/>
              </a:rPr>
              <a:t>с </a:t>
            </a:r>
            <a:r>
              <a:rPr lang="ru-RU" sz="1000" dirty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  <a:sym typeface="Montserrat Medium"/>
              </a:rPr>
              <a:t>Яндекс Бизнесом</a:t>
            </a:r>
          </a:p>
        </p:txBody>
      </p:sp>
      <p:pic>
        <p:nvPicPr>
          <p:cNvPr id="407" name="Google Shape;195;p21">
            <a:extLst>
              <a:ext uri="{FF2B5EF4-FFF2-40B4-BE49-F238E27FC236}">
                <a16:creationId xmlns:a16="http://schemas.microsoft.com/office/drawing/2014/main" id="{53643ACF-E7FB-89CF-540A-DAB52F688471}"/>
              </a:ext>
            </a:extLst>
          </p:cNvPr>
          <p:cNvPicPr preferRelativeResize="0"/>
          <p:nvPr/>
        </p:nvPicPr>
        <p:blipFill>
          <a:blip r:embed="rId40">
            <a:alphaModFix/>
          </a:blip>
          <a:stretch>
            <a:fillRect/>
          </a:stretch>
        </p:blipFill>
        <p:spPr>
          <a:xfrm>
            <a:off x="9081048" y="1562545"/>
            <a:ext cx="162314" cy="170847"/>
          </a:xfrm>
          <a:prstGeom prst="rect">
            <a:avLst/>
          </a:prstGeom>
          <a:noFill/>
          <a:ln>
            <a:noFill/>
          </a:ln>
        </p:spPr>
      </p:pic>
      <p:pic>
        <p:nvPicPr>
          <p:cNvPr id="408" name="Рисунок 2">
            <a:extLst>
              <a:ext uri="{FF2B5EF4-FFF2-40B4-BE49-F238E27FC236}">
                <a16:creationId xmlns:a16="http://schemas.microsoft.com/office/drawing/2014/main" id="{8C199158-DABD-F85A-F100-3750213945FC}"/>
              </a:ext>
            </a:extLst>
          </p:cNvPr>
          <p:cNvPicPr>
            <a:picLocks noChangeAspect="1"/>
          </p:cNvPicPr>
          <p:nvPr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88149" y="2378432"/>
            <a:ext cx="180022" cy="180022"/>
          </a:xfrm>
          <a:prstGeom prst="rect">
            <a:avLst/>
          </a:prstGeom>
        </p:spPr>
      </p:pic>
      <p:pic>
        <p:nvPicPr>
          <p:cNvPr id="409" name="Объект 3">
            <a:extLst>
              <a:ext uri="{FF2B5EF4-FFF2-40B4-BE49-F238E27FC236}">
                <a16:creationId xmlns:a16="http://schemas.microsoft.com/office/drawing/2014/main" id="{AE65AF30-B21D-B6E0-B4D6-5A1FB570D02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68738" y="1949452"/>
            <a:ext cx="212919" cy="212919"/>
          </a:xfrm>
        </p:spPr>
      </p:pic>
      <p:pic>
        <p:nvPicPr>
          <p:cNvPr id="410" name="Рисунок 409"/>
          <p:cNvPicPr>
            <a:picLocks noChangeAspect="1"/>
          </p:cNvPicPr>
          <p:nvPr/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45378" y="2823853"/>
            <a:ext cx="257684" cy="262943"/>
          </a:xfrm>
          <a:prstGeom prst="rect">
            <a:avLst/>
          </a:prstGeom>
        </p:spPr>
      </p:pic>
      <p:sp>
        <p:nvSpPr>
          <p:cNvPr id="411" name="TextBox 410">
            <a:extLst>
              <a:ext uri="{FF2B5EF4-FFF2-40B4-BE49-F238E27FC236}">
                <a16:creationId xmlns:a16="http://schemas.microsoft.com/office/drawing/2014/main" id="{F791A1DC-6D2B-682B-0DBC-0C28BD9891BC}"/>
              </a:ext>
            </a:extLst>
          </p:cNvPr>
          <p:cNvSpPr txBox="1"/>
          <p:nvPr/>
        </p:nvSpPr>
        <p:spPr>
          <a:xfrm>
            <a:off x="9382951" y="2756368"/>
            <a:ext cx="179919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000" dirty="0" smtClean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  <a:sym typeface="Montserrat Medium"/>
              </a:rPr>
              <a:t>продажи на маркетплейсах</a:t>
            </a:r>
            <a:br>
              <a:rPr lang="ru-RU" sz="1000" dirty="0" smtClean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  <a:sym typeface="Montserrat Medium"/>
              </a:rPr>
            </a:br>
            <a:r>
              <a:rPr lang="ru-RU" sz="1000" dirty="0" smtClean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  <a:sym typeface="Montserrat Medium"/>
              </a:rPr>
              <a:t>и в </a:t>
            </a:r>
            <a:r>
              <a:rPr lang="ru-RU" sz="1000" dirty="0" err="1" smtClean="0">
                <a:latin typeface="PT Root UI Medium" panose="020B0503020202020204" pitchFamily="34" charset="-52"/>
                <a:ea typeface="PT Root UI Medium" panose="020B0503020202020204" pitchFamily="34" charset="-52"/>
                <a:cs typeface="Segoe UI Semibold" panose="020B0702040204020203" pitchFamily="34" charset="0"/>
                <a:sym typeface="Montserrat Medium"/>
              </a:rPr>
              <a:t>соцсетях</a:t>
            </a:r>
            <a:endParaRPr lang="ru-RU" sz="1000" dirty="0">
              <a:latin typeface="PT Root UI Medium" panose="020B0503020202020204" pitchFamily="34" charset="-52"/>
              <a:ea typeface="PT Root UI Medium" panose="020B0503020202020204" pitchFamily="34" charset="-52"/>
              <a:cs typeface="Segoe UI Semibold" panose="020B0702040204020203" pitchFamily="34" charset="0"/>
              <a:sym typeface="Montserrat Medium"/>
            </a:endParaRPr>
          </a:p>
        </p:txBody>
      </p:sp>
    </p:spTree>
    <p:extLst>
      <p:ext uri="{BB962C8B-B14F-4D97-AF65-F5344CB8AC3E}">
        <p14:creationId xmlns:p14="http://schemas.microsoft.com/office/powerpoint/2010/main" val="94937554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32" name="Слайд think-cell" r:id="rId5" imgW="347" imgH="348" progId="TCLayout.ActiveDocument.1">
                  <p:embed/>
                </p:oleObj>
              </mc:Choice>
              <mc:Fallback>
                <p:oleObj name="Слайд think-cell" r:id="rId5" imgW="347" imgH="348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Прямоугольник 25"/>
          <p:cNvSpPr/>
          <p:nvPr/>
        </p:nvSpPr>
        <p:spPr>
          <a:xfrm>
            <a:off x="355907" y="319141"/>
            <a:ext cx="9348810" cy="4616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defTabSz="457200">
              <a:lnSpc>
                <a:spcPts val="3600"/>
              </a:lnSpc>
              <a:defRPr/>
            </a:pPr>
            <a:endParaRPr lang="ru-RU" sz="3600" dirty="0"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A0A5BB4C-475C-902C-1DAF-655069B1AE51}"/>
              </a:ext>
            </a:extLst>
          </p:cNvPr>
          <p:cNvSpPr/>
          <p:nvPr/>
        </p:nvSpPr>
        <p:spPr>
          <a:xfrm>
            <a:off x="481014" y="1552497"/>
            <a:ext cx="5359624" cy="954107"/>
          </a:xfrm>
          <a:prstGeom prst="roundRect">
            <a:avLst>
              <a:gd name="adj" fmla="val 11323"/>
            </a:avLst>
          </a:prstGeom>
          <a:solidFill>
            <a:srgbClr val="4FCE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732E9370-C3EC-5FB5-5CBE-01A73B3B3F99}"/>
              </a:ext>
            </a:extLst>
          </p:cNvPr>
          <p:cNvSpPr/>
          <p:nvPr/>
        </p:nvSpPr>
        <p:spPr>
          <a:xfrm>
            <a:off x="6351364" y="1552497"/>
            <a:ext cx="5294328" cy="954107"/>
          </a:xfrm>
          <a:prstGeom prst="roundRect">
            <a:avLst>
              <a:gd name="adj" fmla="val 11323"/>
            </a:avLst>
          </a:prstGeom>
          <a:solidFill>
            <a:srgbClr val="4FCE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2CB6AF1-8B23-D22C-53F5-4CE01E839227}"/>
              </a:ext>
            </a:extLst>
          </p:cNvPr>
          <p:cNvSpPr txBox="1"/>
          <p:nvPr/>
        </p:nvSpPr>
        <p:spPr>
          <a:xfrm>
            <a:off x="746816" y="1819643"/>
            <a:ext cx="41034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2786"/>
            <a:r>
              <a:rPr lang="ru-RU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В чем поддержка?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F8AC415-A3A5-246E-1FA8-0D0BFA99A843}"/>
              </a:ext>
            </a:extLst>
          </p:cNvPr>
          <p:cNvSpPr txBox="1"/>
          <p:nvPr/>
        </p:nvSpPr>
        <p:spPr>
          <a:xfrm>
            <a:off x="6685846" y="1819643"/>
            <a:ext cx="39689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2216">
              <a:buClr>
                <a:schemeClr val="tx2"/>
              </a:buClr>
              <a:defRPr/>
            </a:pPr>
            <a:r>
              <a:rPr lang="ru-RU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Какие результаты?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A83E34A-621A-C6E4-6378-FE8119E34669}"/>
              </a:ext>
            </a:extLst>
          </p:cNvPr>
          <p:cNvSpPr txBox="1"/>
          <p:nvPr/>
        </p:nvSpPr>
        <p:spPr>
          <a:xfrm>
            <a:off x="5132497" y="1572096"/>
            <a:ext cx="1118566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800" b="1" dirty="0">
                <a:ln w="15875">
                  <a:solidFill>
                    <a:schemeClr val="bg1">
                      <a:alpha val="65000"/>
                    </a:schemeClr>
                  </a:solidFill>
                </a:ln>
                <a:noFill/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?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B6E90E7-9765-95D4-D6BE-31DA20D140C4}"/>
              </a:ext>
            </a:extLst>
          </p:cNvPr>
          <p:cNvSpPr txBox="1"/>
          <p:nvPr/>
        </p:nvSpPr>
        <p:spPr>
          <a:xfrm>
            <a:off x="10838059" y="1572096"/>
            <a:ext cx="1118566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800" b="1" dirty="0">
                <a:ln w="15875">
                  <a:solidFill>
                    <a:schemeClr val="bg1">
                      <a:alpha val="65000"/>
                    </a:schemeClr>
                  </a:solidFill>
                </a:ln>
                <a:noFill/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?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4018F59-2FB8-66DE-5A5E-FA5DE71CB371}"/>
              </a:ext>
            </a:extLst>
          </p:cNvPr>
          <p:cNvCxnSpPr>
            <a:cxnSpLocks/>
          </p:cNvCxnSpPr>
          <p:nvPr/>
        </p:nvCxnSpPr>
        <p:spPr>
          <a:xfrm flipH="1">
            <a:off x="479425" y="5752633"/>
            <a:ext cx="11210667" cy="0"/>
          </a:xfrm>
          <a:prstGeom prst="line">
            <a:avLst/>
          </a:prstGeom>
          <a:ln w="12700">
            <a:solidFill>
              <a:schemeClr val="bg1">
                <a:lumMod val="50000"/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5" name="Picture 2">
            <a:extLst>
              <a:ext uri="{FF2B5EF4-FFF2-40B4-BE49-F238E27FC236}">
                <a16:creationId xmlns:a16="http://schemas.microsoft.com/office/drawing/2014/main" id="{478022F4-F7B9-09FE-8499-6E67EAC6F2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937804" y="5935214"/>
            <a:ext cx="851223" cy="4256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Рисунок 124">
            <a:extLst>
              <a:ext uri="{FF2B5EF4-FFF2-40B4-BE49-F238E27FC236}">
                <a16:creationId xmlns:a16="http://schemas.microsoft.com/office/drawing/2014/main" id="{72C55EF1-5A0D-FE7E-1A48-F65BA6F5CB14}"/>
              </a:ext>
            </a:extLst>
          </p:cNvPr>
          <p:cNvPicPr>
            <a:picLocks noChangeAspect="1"/>
          </p:cNvPicPr>
          <p:nvPr/>
        </p:nvPicPr>
        <p:blipFill>
          <a:blip r:embed="rId8">
            <a:grayscl/>
          </a:blip>
          <a:stretch>
            <a:fillRect/>
          </a:stretch>
        </p:blipFill>
        <p:spPr>
          <a:xfrm>
            <a:off x="4000578" y="5950080"/>
            <a:ext cx="851223" cy="410041"/>
          </a:xfrm>
          <a:prstGeom prst="rect">
            <a:avLst/>
          </a:prstGeom>
        </p:spPr>
      </p:pic>
      <p:pic>
        <p:nvPicPr>
          <p:cNvPr id="41" name="Рисунок 125">
            <a:extLst>
              <a:ext uri="{FF2B5EF4-FFF2-40B4-BE49-F238E27FC236}">
                <a16:creationId xmlns:a16="http://schemas.microsoft.com/office/drawing/2014/main" id="{DFE125E4-B8F6-D7BC-12F1-EB700C2A8BC2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9299" y="6045158"/>
            <a:ext cx="928902" cy="163865"/>
          </a:xfrm>
          <a:prstGeom prst="rect">
            <a:avLst/>
          </a:prstGeom>
        </p:spPr>
      </p:pic>
      <p:pic>
        <p:nvPicPr>
          <p:cNvPr id="44" name="Picture 6" descr="Как у всех: X5 Retail Group представила новый логотип | ПРОДУКТ медиа">
            <a:extLst>
              <a:ext uri="{FF2B5EF4-FFF2-40B4-BE49-F238E27FC236}">
                <a16:creationId xmlns:a16="http://schemas.microsoft.com/office/drawing/2014/main" id="{70AB7F5A-A3BA-F171-F083-4B05F1EB53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5699" y="5981331"/>
            <a:ext cx="573500" cy="3912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4" descr="https://argoclima.com/wp-content/uploads/2020/04/metro-ag-logo.jpg">
            <a:extLst>
              <a:ext uri="{FF2B5EF4-FFF2-40B4-BE49-F238E27FC236}">
                <a16:creationId xmlns:a16="http://schemas.microsoft.com/office/drawing/2014/main" id="{DD723186-5242-D5AF-1AA4-049F2C9837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1978" y="6020715"/>
            <a:ext cx="852967" cy="226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70" descr="https://webpulse.imgsmail.ru/imgpreview?mb=webpulse&amp;key=pulse_cabinet-image-93d42a6e-8c73-4bd0-9d92-b85a1a97a76b">
            <a:extLst>
              <a:ext uri="{FF2B5EF4-FFF2-40B4-BE49-F238E27FC236}">
                <a16:creationId xmlns:a16="http://schemas.microsoft.com/office/drawing/2014/main" id="{8AF4F4EA-2C16-573E-5966-F51BD403DD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546" b="24448"/>
          <a:stretch/>
        </p:blipFill>
        <p:spPr bwMode="auto">
          <a:xfrm>
            <a:off x="7896496" y="5959417"/>
            <a:ext cx="1019674" cy="3535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Рисунок 139">
            <a:extLst>
              <a:ext uri="{FF2B5EF4-FFF2-40B4-BE49-F238E27FC236}">
                <a16:creationId xmlns:a16="http://schemas.microsoft.com/office/drawing/2014/main" id="{04628DCB-1A70-8C77-84FB-B3B9DCAA57B2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27721" y="6050404"/>
            <a:ext cx="1263947" cy="157993"/>
          </a:xfrm>
          <a:prstGeom prst="rect">
            <a:avLst/>
          </a:prstGeom>
        </p:spPr>
      </p:pic>
      <p:pic>
        <p:nvPicPr>
          <p:cNvPr id="49" name="Рисунок 140">
            <a:extLst>
              <a:ext uri="{FF2B5EF4-FFF2-40B4-BE49-F238E27FC236}">
                <a16:creationId xmlns:a16="http://schemas.microsoft.com/office/drawing/2014/main" id="{F4BDDB11-DF7B-ED2E-2422-0E07E9D0AF40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80583" y="6035377"/>
            <a:ext cx="995480" cy="187625"/>
          </a:xfrm>
          <a:prstGeom prst="rect">
            <a:avLst/>
          </a:prstGeom>
        </p:spPr>
      </p:pic>
      <p:sp>
        <p:nvSpPr>
          <p:cNvPr id="50" name="TextBox 49">
            <a:extLst>
              <a:ext uri="{FF2B5EF4-FFF2-40B4-BE49-F238E27FC236}">
                <a16:creationId xmlns:a16="http://schemas.microsoft.com/office/drawing/2014/main" id="{A208D7C2-0160-81E2-D1D2-ED34AC1065A9}"/>
              </a:ext>
            </a:extLst>
          </p:cNvPr>
          <p:cNvSpPr txBox="1"/>
          <p:nvPr/>
        </p:nvSpPr>
        <p:spPr>
          <a:xfrm>
            <a:off x="1044352" y="2626000"/>
            <a:ext cx="4303213" cy="5417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2216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50000"/>
              <a:defRPr/>
            </a:pPr>
            <a:r>
              <a:rPr lang="ru-RU" sz="14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Открываем доступ к </a:t>
            </a:r>
            <a:r>
              <a:rPr lang="ru-RU" sz="14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потребностям российских </a:t>
            </a:r>
            <a:r>
              <a:rPr lang="ru-RU" sz="14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частных и </a:t>
            </a:r>
            <a:r>
              <a:rPr lang="ru-RU" sz="14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иностранных </a:t>
            </a:r>
            <a:r>
              <a:rPr lang="ru-RU" sz="14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компаний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803077C3-C075-8D5A-8CA2-779E1CE71E79}"/>
              </a:ext>
            </a:extLst>
          </p:cNvPr>
          <p:cNvSpPr txBox="1"/>
          <p:nvPr/>
        </p:nvSpPr>
        <p:spPr>
          <a:xfrm>
            <a:off x="1044352" y="3220518"/>
            <a:ext cx="5081827" cy="3228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2216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50000"/>
              <a:defRPr/>
            </a:pPr>
            <a:r>
              <a:rPr lang="ru-RU" sz="14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Помогаем найти </a:t>
            </a:r>
            <a:r>
              <a:rPr lang="ru-RU" sz="14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партнера/поставщика/заказчика </a:t>
            </a:r>
            <a:endParaRPr lang="ru-RU" sz="1400" b="1" dirty="0"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2A5C01BE-A59E-68C5-C899-C325396ABCD0}"/>
              </a:ext>
            </a:extLst>
          </p:cNvPr>
          <p:cNvSpPr txBox="1"/>
          <p:nvPr/>
        </p:nvSpPr>
        <p:spPr>
          <a:xfrm>
            <a:off x="1044352" y="3654103"/>
            <a:ext cx="4877234" cy="3112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2216">
              <a:lnSpc>
                <a:spcPct val="107000"/>
              </a:lnSpc>
              <a:buClr>
                <a:schemeClr val="tx2"/>
              </a:buClr>
              <a:buSzPct val="150000"/>
              <a:defRPr/>
            </a:pPr>
            <a:r>
              <a:rPr lang="ru-RU" sz="14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Организуем и сопровождаем переговоры с заказчиками 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B4BE14BE-2824-698F-5E4A-9797C2D3C341}"/>
              </a:ext>
            </a:extLst>
          </p:cNvPr>
          <p:cNvSpPr txBox="1"/>
          <p:nvPr/>
        </p:nvSpPr>
        <p:spPr>
          <a:xfrm>
            <a:off x="1044352" y="4887860"/>
            <a:ext cx="5317547" cy="3112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2216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50000"/>
              <a:defRPr/>
            </a:pPr>
            <a:r>
              <a:rPr lang="ru-RU" sz="14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Проводим обучение и консультации </a:t>
            </a: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E4A87422-E8C2-0ECD-CCA8-57A2C9F61878}"/>
              </a:ext>
            </a:extLst>
          </p:cNvPr>
          <p:cNvGrpSpPr/>
          <p:nvPr/>
        </p:nvGrpSpPr>
        <p:grpSpPr>
          <a:xfrm>
            <a:off x="746816" y="3267526"/>
            <a:ext cx="237577" cy="237577"/>
            <a:chOff x="636869" y="1755697"/>
            <a:chExt cx="296825" cy="296825"/>
          </a:xfrm>
        </p:grpSpPr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9180101B-245C-B6E3-F75D-6F88D8903A42}"/>
                </a:ext>
              </a:extLst>
            </p:cNvPr>
            <p:cNvSpPr/>
            <p:nvPr/>
          </p:nvSpPr>
          <p:spPr>
            <a:xfrm>
              <a:off x="636869" y="1755697"/>
              <a:ext cx="296825" cy="296825"/>
            </a:xfrm>
            <a:prstGeom prst="ellipse">
              <a:avLst/>
            </a:prstGeom>
            <a:solidFill>
              <a:srgbClr val="4FCE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pic>
          <p:nvPicPr>
            <p:cNvPr id="56" name="Graphic 55">
              <a:extLst>
                <a:ext uri="{FF2B5EF4-FFF2-40B4-BE49-F238E27FC236}">
                  <a16:creationId xmlns:a16="http://schemas.microsoft.com/office/drawing/2014/main" id="{99083DF0-D66F-E496-557F-1AEC5183EC2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18"/>
                </a:ext>
              </a:extLst>
            </a:blip>
            <a:srcRect l="21256" t="17448" r="22708" b="37584"/>
            <a:stretch/>
          </p:blipFill>
          <p:spPr>
            <a:xfrm>
              <a:off x="700507" y="1841957"/>
              <a:ext cx="161680" cy="129745"/>
            </a:xfrm>
            <a:prstGeom prst="rect">
              <a:avLst/>
            </a:prstGeom>
          </p:spPr>
        </p:pic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D1F6AF33-1A04-3C96-6A51-F96430DBF3CC}"/>
              </a:ext>
            </a:extLst>
          </p:cNvPr>
          <p:cNvGrpSpPr/>
          <p:nvPr/>
        </p:nvGrpSpPr>
        <p:grpSpPr>
          <a:xfrm>
            <a:off x="746816" y="3686356"/>
            <a:ext cx="237577" cy="237577"/>
            <a:chOff x="636869" y="1755697"/>
            <a:chExt cx="296825" cy="296825"/>
          </a:xfrm>
        </p:grpSpPr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67926F5B-8523-6BA0-84C8-9D4FDA900003}"/>
                </a:ext>
              </a:extLst>
            </p:cNvPr>
            <p:cNvSpPr/>
            <p:nvPr/>
          </p:nvSpPr>
          <p:spPr>
            <a:xfrm>
              <a:off x="636869" y="1755697"/>
              <a:ext cx="296825" cy="296825"/>
            </a:xfrm>
            <a:prstGeom prst="ellipse">
              <a:avLst/>
            </a:prstGeom>
            <a:solidFill>
              <a:srgbClr val="4FCE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pic>
          <p:nvPicPr>
            <p:cNvPr id="59" name="Graphic 58">
              <a:extLst>
                <a:ext uri="{FF2B5EF4-FFF2-40B4-BE49-F238E27FC236}">
                  <a16:creationId xmlns:a16="http://schemas.microsoft.com/office/drawing/2014/main" id="{ED8E40B3-0C84-4E0C-FAA6-FFBC8CCD55C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18"/>
                </a:ext>
              </a:extLst>
            </a:blip>
            <a:srcRect l="21256" t="17448" r="22708" b="37584"/>
            <a:stretch/>
          </p:blipFill>
          <p:spPr>
            <a:xfrm>
              <a:off x="700507" y="1841957"/>
              <a:ext cx="161680" cy="129745"/>
            </a:xfrm>
            <a:prstGeom prst="rect">
              <a:avLst/>
            </a:prstGeom>
          </p:spPr>
        </p:pic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46430D91-594B-15B0-9D3C-71C61184F9B9}"/>
              </a:ext>
            </a:extLst>
          </p:cNvPr>
          <p:cNvGrpSpPr/>
          <p:nvPr/>
        </p:nvGrpSpPr>
        <p:grpSpPr>
          <a:xfrm>
            <a:off x="746816" y="4105186"/>
            <a:ext cx="237577" cy="237577"/>
            <a:chOff x="636869" y="1755697"/>
            <a:chExt cx="296825" cy="296825"/>
          </a:xfrm>
        </p:grpSpPr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D18C4321-3C51-6644-80E2-AB9971EF776C}"/>
                </a:ext>
              </a:extLst>
            </p:cNvPr>
            <p:cNvSpPr/>
            <p:nvPr/>
          </p:nvSpPr>
          <p:spPr>
            <a:xfrm>
              <a:off x="636869" y="1755697"/>
              <a:ext cx="296825" cy="296825"/>
            </a:xfrm>
            <a:prstGeom prst="ellipse">
              <a:avLst/>
            </a:prstGeom>
            <a:solidFill>
              <a:srgbClr val="4FCE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pic>
          <p:nvPicPr>
            <p:cNvPr id="62" name="Graphic 61">
              <a:extLst>
                <a:ext uri="{FF2B5EF4-FFF2-40B4-BE49-F238E27FC236}">
                  <a16:creationId xmlns:a16="http://schemas.microsoft.com/office/drawing/2014/main" id="{CFEB346F-AC85-7326-5016-9B772900693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18"/>
                </a:ext>
              </a:extLst>
            </a:blip>
            <a:srcRect l="21256" t="17448" r="22708" b="37584"/>
            <a:stretch/>
          </p:blipFill>
          <p:spPr>
            <a:xfrm>
              <a:off x="700507" y="1841957"/>
              <a:ext cx="161680" cy="129745"/>
            </a:xfrm>
            <a:prstGeom prst="rect">
              <a:avLst/>
            </a:prstGeom>
          </p:spPr>
        </p:pic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9C1212EC-7503-C836-6CC4-0CF93A21E1F6}"/>
              </a:ext>
            </a:extLst>
          </p:cNvPr>
          <p:cNvGrpSpPr/>
          <p:nvPr/>
        </p:nvGrpSpPr>
        <p:grpSpPr>
          <a:xfrm>
            <a:off x="746816" y="4524016"/>
            <a:ext cx="237577" cy="237577"/>
            <a:chOff x="636869" y="1755697"/>
            <a:chExt cx="296825" cy="296825"/>
          </a:xfrm>
        </p:grpSpPr>
        <p:sp>
          <p:nvSpPr>
            <p:cNvPr id="64" name="Oval 63">
              <a:extLst>
                <a:ext uri="{FF2B5EF4-FFF2-40B4-BE49-F238E27FC236}">
                  <a16:creationId xmlns:a16="http://schemas.microsoft.com/office/drawing/2014/main" id="{B34DFDA0-0BB5-353E-400E-AC96B0797381}"/>
                </a:ext>
              </a:extLst>
            </p:cNvPr>
            <p:cNvSpPr/>
            <p:nvPr/>
          </p:nvSpPr>
          <p:spPr>
            <a:xfrm>
              <a:off x="636869" y="1755697"/>
              <a:ext cx="296825" cy="296825"/>
            </a:xfrm>
            <a:prstGeom prst="ellipse">
              <a:avLst/>
            </a:prstGeom>
            <a:solidFill>
              <a:srgbClr val="4FCE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pic>
          <p:nvPicPr>
            <p:cNvPr id="66" name="Graphic 65">
              <a:extLst>
                <a:ext uri="{FF2B5EF4-FFF2-40B4-BE49-F238E27FC236}">
                  <a16:creationId xmlns:a16="http://schemas.microsoft.com/office/drawing/2014/main" id="{BACFBF29-EAC5-3EB1-909B-88EE5995907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18"/>
                </a:ext>
              </a:extLst>
            </a:blip>
            <a:srcRect l="21256" t="17448" r="22708" b="37584"/>
            <a:stretch/>
          </p:blipFill>
          <p:spPr>
            <a:xfrm>
              <a:off x="700507" y="1841957"/>
              <a:ext cx="161680" cy="129745"/>
            </a:xfrm>
            <a:prstGeom prst="rect">
              <a:avLst/>
            </a:prstGeom>
          </p:spPr>
        </p:pic>
      </p:grpSp>
      <p:sp>
        <p:nvSpPr>
          <p:cNvPr id="68" name="TextBox 67">
            <a:extLst>
              <a:ext uri="{FF2B5EF4-FFF2-40B4-BE49-F238E27FC236}">
                <a16:creationId xmlns:a16="http://schemas.microsoft.com/office/drawing/2014/main" id="{FAB4A782-1C20-4F20-5505-6D0234425F0E}"/>
              </a:ext>
            </a:extLst>
          </p:cNvPr>
          <p:cNvSpPr txBox="1"/>
          <p:nvPr/>
        </p:nvSpPr>
        <p:spPr>
          <a:xfrm>
            <a:off x="1044352" y="4095331"/>
            <a:ext cx="5317547" cy="3112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2216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50000"/>
              <a:defRPr/>
            </a:pPr>
            <a:r>
              <a:rPr lang="ru-RU" sz="14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Организуем торгово-закупочные сессии</a:t>
            </a:r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id="{684463A7-0E1D-1472-DA38-FECD73C7EA4A}"/>
              </a:ext>
            </a:extLst>
          </p:cNvPr>
          <p:cNvGrpSpPr/>
          <p:nvPr/>
        </p:nvGrpSpPr>
        <p:grpSpPr>
          <a:xfrm>
            <a:off x="746816" y="4942846"/>
            <a:ext cx="237577" cy="237577"/>
            <a:chOff x="636869" y="1755697"/>
            <a:chExt cx="296825" cy="296825"/>
          </a:xfrm>
        </p:grpSpPr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FE1E1E07-F1E1-BDB8-7001-B2252063D7AE}"/>
                </a:ext>
              </a:extLst>
            </p:cNvPr>
            <p:cNvSpPr/>
            <p:nvPr/>
          </p:nvSpPr>
          <p:spPr>
            <a:xfrm>
              <a:off x="636869" y="1755697"/>
              <a:ext cx="296825" cy="296825"/>
            </a:xfrm>
            <a:prstGeom prst="ellipse">
              <a:avLst/>
            </a:prstGeom>
            <a:solidFill>
              <a:srgbClr val="4FCE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pic>
          <p:nvPicPr>
            <p:cNvPr id="71" name="Graphic 70">
              <a:extLst>
                <a:ext uri="{FF2B5EF4-FFF2-40B4-BE49-F238E27FC236}">
                  <a16:creationId xmlns:a16="http://schemas.microsoft.com/office/drawing/2014/main" id="{5B1EB25C-0143-D950-1113-320AC77FD4D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18"/>
                </a:ext>
              </a:extLst>
            </a:blip>
            <a:srcRect l="21256" t="17448" r="22708" b="37584"/>
            <a:stretch/>
          </p:blipFill>
          <p:spPr>
            <a:xfrm>
              <a:off x="700507" y="1841957"/>
              <a:ext cx="161680" cy="129745"/>
            </a:xfrm>
            <a:prstGeom prst="rect">
              <a:avLst/>
            </a:prstGeom>
          </p:spPr>
        </p:pic>
      </p:grpSp>
      <p:grpSp>
        <p:nvGrpSpPr>
          <p:cNvPr id="65" name="Group 53">
            <a:extLst>
              <a:ext uri="{FF2B5EF4-FFF2-40B4-BE49-F238E27FC236}">
                <a16:creationId xmlns:a16="http://schemas.microsoft.com/office/drawing/2014/main" id="{E4A87422-E8C2-0ECD-CCA8-57A2C9F61878}"/>
              </a:ext>
            </a:extLst>
          </p:cNvPr>
          <p:cNvGrpSpPr/>
          <p:nvPr/>
        </p:nvGrpSpPr>
        <p:grpSpPr>
          <a:xfrm>
            <a:off x="755840" y="2663080"/>
            <a:ext cx="237577" cy="237577"/>
            <a:chOff x="636869" y="1755697"/>
            <a:chExt cx="296825" cy="296825"/>
          </a:xfrm>
        </p:grpSpPr>
        <p:sp>
          <p:nvSpPr>
            <p:cNvPr id="67" name="Oval 54">
              <a:extLst>
                <a:ext uri="{FF2B5EF4-FFF2-40B4-BE49-F238E27FC236}">
                  <a16:creationId xmlns:a16="http://schemas.microsoft.com/office/drawing/2014/main" id="{9180101B-245C-B6E3-F75D-6F88D8903A42}"/>
                </a:ext>
              </a:extLst>
            </p:cNvPr>
            <p:cNvSpPr/>
            <p:nvPr/>
          </p:nvSpPr>
          <p:spPr>
            <a:xfrm>
              <a:off x="636869" y="1755697"/>
              <a:ext cx="296825" cy="296825"/>
            </a:xfrm>
            <a:prstGeom prst="ellipse">
              <a:avLst/>
            </a:prstGeom>
            <a:solidFill>
              <a:srgbClr val="4FCE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pic>
          <p:nvPicPr>
            <p:cNvPr id="72" name="Graphic 55">
              <a:extLst>
                <a:ext uri="{FF2B5EF4-FFF2-40B4-BE49-F238E27FC236}">
                  <a16:creationId xmlns:a16="http://schemas.microsoft.com/office/drawing/2014/main" id="{99083DF0-D66F-E496-557F-1AEC5183EC2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18"/>
                </a:ext>
              </a:extLst>
            </a:blip>
            <a:srcRect l="21256" t="17448" r="22708" b="37584"/>
            <a:stretch/>
          </p:blipFill>
          <p:spPr>
            <a:xfrm>
              <a:off x="700507" y="1841957"/>
              <a:ext cx="161680" cy="129745"/>
            </a:xfrm>
            <a:prstGeom prst="rect">
              <a:avLst/>
            </a:prstGeom>
          </p:spPr>
        </p:pic>
      </p:grpSp>
      <p:sp>
        <p:nvSpPr>
          <p:cNvPr id="73" name="TextBox 72">
            <a:extLst>
              <a:ext uri="{FF2B5EF4-FFF2-40B4-BE49-F238E27FC236}">
                <a16:creationId xmlns:a16="http://schemas.microsoft.com/office/drawing/2014/main" id="{B4BE14BE-2824-698F-5E4A-9797C2D3C341}"/>
              </a:ext>
            </a:extLst>
          </p:cNvPr>
          <p:cNvSpPr txBox="1"/>
          <p:nvPr/>
        </p:nvSpPr>
        <p:spPr>
          <a:xfrm>
            <a:off x="1044352" y="4500949"/>
            <a:ext cx="5317547" cy="3228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2216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50000"/>
              <a:defRPr/>
            </a:pPr>
            <a:r>
              <a:rPr lang="ru-RU" sz="14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Помогаем попасть на полки торговых федеральных сетей</a:t>
            </a:r>
          </a:p>
        </p:txBody>
      </p:sp>
      <p:sp>
        <p:nvSpPr>
          <p:cNvPr id="14" name="Прямоугольник 3">
            <a:extLst>
              <a:ext uri="{FF2B5EF4-FFF2-40B4-BE49-F238E27FC236}">
                <a16:creationId xmlns:a16="http://schemas.microsoft.com/office/drawing/2014/main" id="{2C167BD2-248E-A1C1-E554-CC5F06521BB7}"/>
              </a:ext>
            </a:extLst>
          </p:cNvPr>
          <p:cNvSpPr/>
          <p:nvPr/>
        </p:nvSpPr>
        <p:spPr>
          <a:xfrm>
            <a:off x="6603317" y="2942739"/>
            <a:ext cx="188424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6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270+</a:t>
            </a:r>
            <a:endParaRPr lang="ru-RU" sz="3600" b="1" dirty="0"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16" name="Прямоугольник 3">
            <a:extLst>
              <a:ext uri="{FF2B5EF4-FFF2-40B4-BE49-F238E27FC236}">
                <a16:creationId xmlns:a16="http://schemas.microsoft.com/office/drawing/2014/main" id="{10A6C100-837C-21C4-E7B9-BA5549DE14F7}"/>
              </a:ext>
            </a:extLst>
          </p:cNvPr>
          <p:cNvSpPr/>
          <p:nvPr/>
        </p:nvSpPr>
        <p:spPr>
          <a:xfrm>
            <a:off x="6603317" y="3946190"/>
            <a:ext cx="266087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2786" lvl="0">
              <a:defRPr/>
            </a:pPr>
            <a:r>
              <a:rPr lang="ru-RU" sz="36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10 600+</a:t>
            </a:r>
            <a:endParaRPr lang="ru-RU" sz="3600" b="1" dirty="0"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19" name="Прямоугольник 3">
            <a:extLst>
              <a:ext uri="{FF2B5EF4-FFF2-40B4-BE49-F238E27FC236}">
                <a16:creationId xmlns:a16="http://schemas.microsoft.com/office/drawing/2014/main" id="{ED902369-0DDE-6A99-B745-CC6011E6BCD6}"/>
              </a:ext>
            </a:extLst>
          </p:cNvPr>
          <p:cNvSpPr/>
          <p:nvPr/>
        </p:nvSpPr>
        <p:spPr>
          <a:xfrm>
            <a:off x="6603317" y="4842080"/>
            <a:ext cx="188424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6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700+</a:t>
            </a:r>
            <a:endParaRPr lang="ru-RU" sz="3600" b="1" dirty="0"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E4BAEF8-FDEC-C536-0A0E-45AA20BE1CAC}"/>
              </a:ext>
            </a:extLst>
          </p:cNvPr>
          <p:cNvSpPr txBox="1"/>
          <p:nvPr/>
        </p:nvSpPr>
        <p:spPr>
          <a:xfrm>
            <a:off x="8373822" y="2788851"/>
            <a:ext cx="302352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2786"/>
            <a:r>
              <a:rPr lang="ru-RU" sz="14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российских и зарубежных </a:t>
            </a:r>
          </a:p>
          <a:p>
            <a:pPr marR="2786"/>
            <a:r>
              <a:rPr lang="ru-RU" sz="14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компаний продовольственного </a:t>
            </a:r>
          </a:p>
          <a:p>
            <a:pPr marR="2786"/>
            <a:r>
              <a:rPr lang="ru-RU" sz="14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и непродовольственного </a:t>
            </a:r>
          </a:p>
          <a:p>
            <a:pPr marR="2786"/>
            <a:r>
              <a:rPr lang="ru-RU" sz="14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сектора ищут поставщиков 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527056F-1AFA-B4DD-6F8B-BCA57372D94F}"/>
              </a:ext>
            </a:extLst>
          </p:cNvPr>
          <p:cNvSpPr txBox="1"/>
          <p:nvPr/>
        </p:nvSpPr>
        <p:spPr>
          <a:xfrm>
            <a:off x="8373822" y="4007745"/>
            <a:ext cx="317914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2786"/>
            <a:r>
              <a:rPr lang="ru-RU" sz="14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запросных </a:t>
            </a:r>
            <a:r>
              <a:rPr lang="ru-RU" sz="14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позиций –</a:t>
            </a:r>
          </a:p>
          <a:p>
            <a:pPr marR="2786"/>
            <a:r>
              <a:rPr lang="ru-RU" sz="14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текущий </a:t>
            </a:r>
            <a:r>
              <a:rPr lang="ru-RU" sz="14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спрос на продукцию МСП 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911D98C-9D4C-86A6-8813-F25057250AEE}"/>
              </a:ext>
            </a:extLst>
          </p:cNvPr>
          <p:cNvSpPr txBox="1"/>
          <p:nvPr/>
        </p:nvSpPr>
        <p:spPr>
          <a:xfrm>
            <a:off x="8373823" y="4903635"/>
            <a:ext cx="293298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2786"/>
            <a:r>
              <a:rPr lang="ru-RU" sz="14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предпринимателей </a:t>
            </a:r>
            <a:r>
              <a:rPr lang="ru-RU" sz="14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уже </a:t>
            </a:r>
            <a:r>
              <a:rPr lang="ru-RU" sz="14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стали поставщиками </a:t>
            </a:r>
            <a:endParaRPr lang="ru-RU" sz="1400" b="1" dirty="0"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249" y="5923461"/>
            <a:ext cx="1854384" cy="417437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20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8714" y="5935214"/>
            <a:ext cx="539034" cy="366061"/>
          </a:xfrm>
          <a:prstGeom prst="rect">
            <a:avLst/>
          </a:prstGeom>
        </p:spPr>
      </p:pic>
      <p:sp>
        <p:nvSpPr>
          <p:cNvPr id="75" name="TextBox 74">
            <a:extLst>
              <a:ext uri="{FF2B5EF4-FFF2-40B4-BE49-F238E27FC236}">
                <a16:creationId xmlns:a16="http://schemas.microsoft.com/office/drawing/2014/main" id="{B4BE14BE-2824-698F-5E4A-9797C2D3C341}"/>
              </a:ext>
            </a:extLst>
          </p:cNvPr>
          <p:cNvSpPr txBox="1"/>
          <p:nvPr/>
        </p:nvSpPr>
        <p:spPr>
          <a:xfrm>
            <a:off x="1044352" y="5311405"/>
            <a:ext cx="5317547" cy="3112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2216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50000"/>
              <a:defRPr/>
            </a:pPr>
            <a:r>
              <a:rPr lang="ru-RU" sz="14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Помогаем организовать «Фермерские островки»</a:t>
            </a:r>
          </a:p>
        </p:txBody>
      </p:sp>
      <p:grpSp>
        <p:nvGrpSpPr>
          <p:cNvPr id="76" name="Group 68">
            <a:extLst>
              <a:ext uri="{FF2B5EF4-FFF2-40B4-BE49-F238E27FC236}">
                <a16:creationId xmlns:a16="http://schemas.microsoft.com/office/drawing/2014/main" id="{684463A7-0E1D-1472-DA38-FECD73C7EA4A}"/>
              </a:ext>
            </a:extLst>
          </p:cNvPr>
          <p:cNvGrpSpPr/>
          <p:nvPr/>
        </p:nvGrpSpPr>
        <p:grpSpPr>
          <a:xfrm>
            <a:off x="746816" y="5366391"/>
            <a:ext cx="237577" cy="237577"/>
            <a:chOff x="636869" y="1755697"/>
            <a:chExt cx="296825" cy="296825"/>
          </a:xfrm>
        </p:grpSpPr>
        <p:sp>
          <p:nvSpPr>
            <p:cNvPr id="77" name="Oval 69">
              <a:extLst>
                <a:ext uri="{FF2B5EF4-FFF2-40B4-BE49-F238E27FC236}">
                  <a16:creationId xmlns:a16="http://schemas.microsoft.com/office/drawing/2014/main" id="{FE1E1E07-F1E1-BDB8-7001-B2252063D7AE}"/>
                </a:ext>
              </a:extLst>
            </p:cNvPr>
            <p:cNvSpPr/>
            <p:nvPr/>
          </p:nvSpPr>
          <p:spPr>
            <a:xfrm>
              <a:off x="636869" y="1755697"/>
              <a:ext cx="296825" cy="296825"/>
            </a:xfrm>
            <a:prstGeom prst="ellipse">
              <a:avLst/>
            </a:prstGeom>
            <a:solidFill>
              <a:srgbClr val="4FCE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pic>
          <p:nvPicPr>
            <p:cNvPr id="78" name="Graphic 70">
              <a:extLst>
                <a:ext uri="{FF2B5EF4-FFF2-40B4-BE49-F238E27FC236}">
                  <a16:creationId xmlns:a16="http://schemas.microsoft.com/office/drawing/2014/main" id="{5B1EB25C-0143-D950-1113-320AC77FD4D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18"/>
                </a:ext>
              </a:extLst>
            </a:blip>
            <a:srcRect l="21256" t="17448" r="22708" b="37584"/>
            <a:stretch/>
          </p:blipFill>
          <p:spPr>
            <a:xfrm>
              <a:off x="700507" y="1841957"/>
              <a:ext cx="161680" cy="129745"/>
            </a:xfrm>
            <a:prstGeom prst="rect">
              <a:avLst/>
            </a:prstGeom>
          </p:spPr>
        </p:pic>
      </p:grpSp>
      <p:sp>
        <p:nvSpPr>
          <p:cNvPr id="80" name="Прямоугольник 79"/>
          <p:cNvSpPr/>
          <p:nvPr/>
        </p:nvSpPr>
        <p:spPr>
          <a:xfrm>
            <a:off x="345596" y="209868"/>
            <a:ext cx="10355691" cy="10669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2786">
              <a:lnSpc>
                <a:spcPts val="3800"/>
              </a:lnSpc>
            </a:pPr>
            <a:r>
              <a:rPr lang="ru-RU" sz="2800" b="1" dirty="0">
                <a:solidFill>
                  <a:srgbClr val="9165E8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Сервис</a:t>
            </a:r>
          </a:p>
          <a:p>
            <a:pPr marR="2786">
              <a:lnSpc>
                <a:spcPts val="3800"/>
              </a:lnSpc>
            </a:pPr>
            <a:r>
              <a:rPr lang="ru-RU" sz="2800" b="1" dirty="0">
                <a:solidFill>
                  <a:srgbClr val="9165E8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«Производственная кооперация и сбыт»</a:t>
            </a:r>
          </a:p>
        </p:txBody>
      </p:sp>
      <p:pic>
        <p:nvPicPr>
          <p:cNvPr id="79" name="Рисунок 61">
            <a:extLst>
              <a:ext uri="{FF2B5EF4-FFF2-40B4-BE49-F238E27FC236}">
                <a16:creationId xmlns:a16="http://schemas.microsoft.com/office/drawing/2014/main" id="{ED2A8417-2BC5-887B-EC92-40F89A41BEFB}"/>
              </a:ext>
            </a:extLst>
          </p:cNvPr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01479" y="476250"/>
            <a:ext cx="572813" cy="299463"/>
          </a:xfrm>
          <a:prstGeom prst="rect">
            <a:avLst/>
          </a:prstGeom>
        </p:spPr>
      </p:pic>
      <p:pic>
        <p:nvPicPr>
          <p:cNvPr id="82" name="Рисунок 81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3621" y="548239"/>
            <a:ext cx="1465327" cy="1554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92827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ounded Rectangle 3">
            <a:extLst>
              <a:ext uri="{FF2B5EF4-FFF2-40B4-BE49-F238E27FC236}">
                <a16:creationId xmlns:a16="http://schemas.microsoft.com/office/drawing/2014/main" id="{732E9370-C3EC-5FB5-5CBE-01A73B3B3F99}"/>
              </a:ext>
            </a:extLst>
          </p:cNvPr>
          <p:cNvSpPr/>
          <p:nvPr/>
        </p:nvSpPr>
        <p:spPr>
          <a:xfrm>
            <a:off x="6177832" y="1822557"/>
            <a:ext cx="5359623" cy="707366"/>
          </a:xfrm>
          <a:prstGeom prst="roundRect">
            <a:avLst>
              <a:gd name="adj" fmla="val 17421"/>
            </a:avLst>
          </a:prstGeom>
          <a:solidFill>
            <a:srgbClr val="4FCE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43" name="Rounded Rectangle 3">
            <a:extLst>
              <a:ext uri="{FF2B5EF4-FFF2-40B4-BE49-F238E27FC236}">
                <a16:creationId xmlns:a16="http://schemas.microsoft.com/office/drawing/2014/main" id="{732E9370-C3EC-5FB5-5CBE-01A73B3B3F99}"/>
              </a:ext>
            </a:extLst>
          </p:cNvPr>
          <p:cNvSpPr/>
          <p:nvPr/>
        </p:nvSpPr>
        <p:spPr>
          <a:xfrm>
            <a:off x="293352" y="1825689"/>
            <a:ext cx="5359623" cy="707366"/>
          </a:xfrm>
          <a:prstGeom prst="roundRect">
            <a:avLst>
              <a:gd name="adj" fmla="val 17421"/>
            </a:avLst>
          </a:prstGeom>
          <a:solidFill>
            <a:srgbClr val="4FCE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36" name="Овал 35"/>
          <p:cNvSpPr/>
          <p:nvPr/>
        </p:nvSpPr>
        <p:spPr>
          <a:xfrm>
            <a:off x="5798433" y="4285069"/>
            <a:ext cx="542986" cy="536490"/>
          </a:xfrm>
          <a:prstGeom prst="ellipse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800"/>
          </a:p>
        </p:txBody>
      </p:sp>
      <p:sp>
        <p:nvSpPr>
          <p:cNvPr id="35" name="Овал 34"/>
          <p:cNvSpPr/>
          <p:nvPr/>
        </p:nvSpPr>
        <p:spPr>
          <a:xfrm>
            <a:off x="5798433" y="3321988"/>
            <a:ext cx="542986" cy="536490"/>
          </a:xfrm>
          <a:prstGeom prst="ellipse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800"/>
          </a:p>
        </p:txBody>
      </p:sp>
      <p:sp>
        <p:nvSpPr>
          <p:cNvPr id="34" name="Овал 33"/>
          <p:cNvSpPr/>
          <p:nvPr/>
        </p:nvSpPr>
        <p:spPr>
          <a:xfrm>
            <a:off x="367000" y="5294317"/>
            <a:ext cx="542986" cy="536490"/>
          </a:xfrm>
          <a:prstGeom prst="ellipse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800"/>
          </a:p>
        </p:txBody>
      </p:sp>
      <p:sp>
        <p:nvSpPr>
          <p:cNvPr id="6" name="Овал 5"/>
          <p:cNvSpPr/>
          <p:nvPr/>
        </p:nvSpPr>
        <p:spPr>
          <a:xfrm>
            <a:off x="367000" y="3990415"/>
            <a:ext cx="542986" cy="536490"/>
          </a:xfrm>
          <a:prstGeom prst="ellipse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800"/>
          </a:p>
        </p:txBody>
      </p:sp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11" name="Слайд think-cell" r:id="rId5" imgW="347" imgH="348" progId="TCLayout.ActiveDocument.1">
                  <p:embed/>
                </p:oleObj>
              </mc:Choice>
              <mc:Fallback>
                <p:oleObj name="Слайд think-cell" r:id="rId5" imgW="347" imgH="348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Прямоугольник 15"/>
          <p:cNvSpPr/>
          <p:nvPr/>
        </p:nvSpPr>
        <p:spPr>
          <a:xfrm>
            <a:off x="345596" y="2676159"/>
            <a:ext cx="6420137" cy="5796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2786">
              <a:lnSpc>
                <a:spcPts val="3800"/>
              </a:lnSpc>
            </a:pPr>
            <a:r>
              <a:rPr lang="ru-RU" sz="2800" b="1" dirty="0">
                <a:solidFill>
                  <a:srgbClr val="9165E8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5 модулей </a:t>
            </a:r>
            <a:r>
              <a:rPr lang="ru-RU" sz="2800" b="1" dirty="0" smtClean="0">
                <a:solidFill>
                  <a:srgbClr val="9165E8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сервиса</a:t>
            </a:r>
            <a:endParaRPr lang="ru-RU" sz="2800" b="1" dirty="0">
              <a:solidFill>
                <a:srgbClr val="9165E8"/>
              </a:solidFill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345596" y="209868"/>
            <a:ext cx="10355691" cy="10669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2786">
              <a:lnSpc>
                <a:spcPts val="3800"/>
              </a:lnSpc>
            </a:pPr>
            <a:r>
              <a:rPr lang="ru-RU" sz="2800" b="1" dirty="0">
                <a:solidFill>
                  <a:srgbClr val="9165E8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Сервис</a:t>
            </a:r>
          </a:p>
          <a:p>
            <a:pPr marR="2786">
              <a:lnSpc>
                <a:spcPts val="3800"/>
              </a:lnSpc>
            </a:pPr>
            <a:r>
              <a:rPr lang="ru-RU" sz="2800" b="1" dirty="0">
                <a:solidFill>
                  <a:srgbClr val="9165E8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«Производственная кооперация и сбыт»</a:t>
            </a:r>
          </a:p>
        </p:txBody>
      </p:sp>
      <p:sp>
        <p:nvSpPr>
          <p:cNvPr id="70" name="Прямоугольник 69"/>
          <p:cNvSpPr/>
          <p:nvPr/>
        </p:nvSpPr>
        <p:spPr>
          <a:xfrm>
            <a:off x="699269" y="4108535"/>
            <a:ext cx="449200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Реестр промышленных компаний</a:t>
            </a:r>
          </a:p>
          <a:p>
            <a:r>
              <a:rPr lang="ru-RU" dirty="0">
                <a:latin typeface="PT Root UI" panose="020B0303020202020204" pitchFamily="34" charset="-52"/>
                <a:ea typeface="PT Root UI" panose="020B0303020202020204" pitchFamily="34" charset="-52"/>
                <a:cs typeface="Segoe UI Semibold" panose="020B0702040204020203" pitchFamily="34" charset="0"/>
              </a:rPr>
              <a:t>Предложение непродовольственных товаров от субъектов МСП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293352" y="3206298"/>
            <a:ext cx="562167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44767"/>
            <a:r>
              <a:rPr lang="ru-RU" b="1" dirty="0">
                <a:solidFill>
                  <a:srgbClr val="4FCEFF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Для промышленных компаний и производителей непродовольственной </a:t>
            </a:r>
            <a:r>
              <a:rPr lang="ru-RU" b="1" dirty="0" smtClean="0">
                <a:solidFill>
                  <a:srgbClr val="4FCEFF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продукции:</a:t>
            </a:r>
            <a:endParaRPr lang="ru-RU" b="1" dirty="0">
              <a:solidFill>
                <a:srgbClr val="4FCEFF"/>
              </a:solidFill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80" name="Прямоугольник 79"/>
          <p:cNvSpPr/>
          <p:nvPr/>
        </p:nvSpPr>
        <p:spPr>
          <a:xfrm>
            <a:off x="638493" y="5392226"/>
            <a:ext cx="3937826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Стать поставщиком ритейлеров и производителей</a:t>
            </a:r>
          </a:p>
          <a:p>
            <a:r>
              <a:rPr lang="ru-RU" dirty="0">
                <a:latin typeface="PT Root UI" panose="020B0303020202020204" pitchFamily="34" charset="-52"/>
                <a:ea typeface="PT Root UI" panose="020B0303020202020204" pitchFamily="34" charset="-52"/>
                <a:cs typeface="Segoe UI Semibold" panose="020B0702040204020203" pitchFamily="34" charset="0"/>
              </a:rPr>
              <a:t>Потребности крупного бизнеса</a:t>
            </a:r>
          </a:p>
        </p:txBody>
      </p:sp>
      <p:sp>
        <p:nvSpPr>
          <p:cNvPr id="107" name="Прямоугольник 106"/>
          <p:cNvSpPr/>
          <p:nvPr/>
        </p:nvSpPr>
        <p:spPr>
          <a:xfrm>
            <a:off x="6069926" y="3440108"/>
            <a:ext cx="574526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Реестр поставщиков продуктов питания</a:t>
            </a:r>
            <a:endParaRPr lang="en-US" b="1" dirty="0"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  <a:p>
            <a:r>
              <a:rPr lang="ru-RU" dirty="0">
                <a:latin typeface="PT Root UI" panose="020B0303020202020204" pitchFamily="34" charset="-52"/>
                <a:ea typeface="PT Root UI" panose="020B0303020202020204" pitchFamily="34" charset="-52"/>
                <a:cs typeface="Segoe UI Semibold" panose="020B0702040204020203" pitchFamily="34" charset="0"/>
              </a:rPr>
              <a:t>Предложение продуктов питания от субъектов МСП</a:t>
            </a:r>
          </a:p>
        </p:txBody>
      </p:sp>
      <p:sp>
        <p:nvSpPr>
          <p:cNvPr id="108" name="Прямоугольник 107"/>
          <p:cNvSpPr/>
          <p:nvPr/>
        </p:nvSpPr>
        <p:spPr>
          <a:xfrm>
            <a:off x="5745890" y="2680751"/>
            <a:ext cx="491933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44767"/>
            <a:r>
              <a:rPr lang="ru-RU" b="1" dirty="0">
                <a:solidFill>
                  <a:srgbClr val="4FCEFF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Для поставщиков продуктов </a:t>
            </a:r>
            <a:r>
              <a:rPr lang="ru-RU" b="1" dirty="0" smtClean="0">
                <a:solidFill>
                  <a:srgbClr val="4FCEFF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питания: </a:t>
            </a:r>
            <a:endParaRPr lang="ru-RU" b="1" dirty="0">
              <a:solidFill>
                <a:srgbClr val="4FCEFF"/>
              </a:solidFill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109" name="Прямоугольник 108"/>
          <p:cNvSpPr/>
          <p:nvPr/>
        </p:nvSpPr>
        <p:spPr>
          <a:xfrm>
            <a:off x="6069926" y="4385534"/>
            <a:ext cx="59005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Попасть на полки торговых сетей</a:t>
            </a:r>
            <a:endParaRPr lang="en-US" b="1" dirty="0"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  <a:p>
            <a:r>
              <a:rPr lang="ru-RU" dirty="0">
                <a:latin typeface="PT Root UI" panose="020B0303020202020204" pitchFamily="34" charset="-52"/>
                <a:ea typeface="PT Root UI" panose="020B0303020202020204" pitchFamily="34" charset="-52"/>
                <a:cs typeface="Segoe UI Semibold" panose="020B0702040204020203" pitchFamily="34" charset="0"/>
              </a:rPr>
              <a:t>Потребности федеральных торговых сетей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345596" y="1247621"/>
            <a:ext cx="104696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44767"/>
            <a:r>
              <a:rPr lang="ru-RU" sz="2400" b="1" dirty="0">
                <a:solidFill>
                  <a:srgbClr val="4FCEFF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Персональная поддержка </a:t>
            </a:r>
            <a:r>
              <a:rPr lang="ru-RU" sz="2400" b="1" dirty="0" smtClean="0">
                <a:solidFill>
                  <a:srgbClr val="4FCEFF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МСП-поставщиков:</a:t>
            </a:r>
            <a:endParaRPr lang="ru-RU" sz="2400" b="1" dirty="0">
              <a:solidFill>
                <a:srgbClr val="4FCEFF"/>
              </a:solidFill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345596" y="1866604"/>
            <a:ext cx="508348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поиск потребностей </a:t>
            </a:r>
            <a:r>
              <a:rPr lang="ru-RU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крупных компаний и отправка предложений онлайн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6216227" y="1857448"/>
            <a:ext cx="545266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помощь в коммуникации МСП-поставщиков с </a:t>
            </a:r>
            <a:r>
              <a:rPr lang="ru-RU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крупными компаниями </a:t>
            </a:r>
            <a:r>
              <a:rPr lang="ru-RU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и </a:t>
            </a:r>
            <a:r>
              <a:rPr lang="ru-RU" b="1" dirty="0" err="1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ритейлерами</a:t>
            </a:r>
            <a:r>
              <a:rPr lang="ru-RU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 </a:t>
            </a:r>
          </a:p>
        </p:txBody>
      </p:sp>
      <p:cxnSp>
        <p:nvCxnSpPr>
          <p:cNvPr id="37" name="Прямая соединительная линия 36"/>
          <p:cNvCxnSpPr/>
          <p:nvPr/>
        </p:nvCxnSpPr>
        <p:spPr>
          <a:xfrm flipV="1">
            <a:off x="367000" y="2605620"/>
            <a:ext cx="11825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Овал 39"/>
          <p:cNvSpPr/>
          <p:nvPr/>
        </p:nvSpPr>
        <p:spPr>
          <a:xfrm>
            <a:off x="5798433" y="5250939"/>
            <a:ext cx="542986" cy="536490"/>
          </a:xfrm>
          <a:prstGeom prst="ellipse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800"/>
          </a:p>
        </p:txBody>
      </p:sp>
      <p:sp>
        <p:nvSpPr>
          <p:cNvPr id="41" name="Прямоугольник 40"/>
          <p:cNvSpPr/>
          <p:nvPr/>
        </p:nvSpPr>
        <p:spPr>
          <a:xfrm>
            <a:off x="6066506" y="5287292"/>
            <a:ext cx="5993221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Стать поставщиком «Фермерского островка»</a:t>
            </a:r>
          </a:p>
          <a:p>
            <a:r>
              <a:rPr lang="ru-RU" dirty="0" smtClean="0">
                <a:latin typeface="PT Root UI" panose="020B0303020202020204" pitchFamily="34" charset="-52"/>
                <a:ea typeface="PT Root UI" panose="020B0303020202020204" pitchFamily="34" charset="-52"/>
                <a:cs typeface="Segoe UI Semibold" panose="020B0702040204020203" pitchFamily="34" charset="0"/>
              </a:rPr>
              <a:t>Потребности </a:t>
            </a:r>
            <a:r>
              <a:rPr lang="ru-RU" dirty="0">
                <a:latin typeface="PT Root UI" panose="020B0303020202020204" pitchFamily="34" charset="-52"/>
                <a:ea typeface="PT Root UI" panose="020B0303020202020204" pitchFamily="34" charset="-52"/>
                <a:cs typeface="Segoe UI Semibold" panose="020B0702040204020203" pitchFamily="34" charset="0"/>
              </a:rPr>
              <a:t>«Фермерских </a:t>
            </a:r>
            <a:r>
              <a:rPr lang="ru-RU" dirty="0" smtClean="0">
                <a:latin typeface="PT Root UI" panose="020B0303020202020204" pitchFamily="34" charset="-52"/>
                <a:ea typeface="PT Root UI" panose="020B0303020202020204" pitchFamily="34" charset="-52"/>
                <a:cs typeface="Segoe UI Semibold" panose="020B0702040204020203" pitchFamily="34" charset="0"/>
              </a:rPr>
              <a:t>островков» </a:t>
            </a:r>
            <a:r>
              <a:rPr lang="ru-RU" dirty="0">
                <a:latin typeface="PT Root UI" panose="020B0303020202020204" pitchFamily="34" charset="-52"/>
                <a:ea typeface="PT Root UI" panose="020B0303020202020204" pitchFamily="34" charset="-52"/>
                <a:cs typeface="Segoe UI Semibold" panose="020B0702040204020203" pitchFamily="34" charset="0"/>
              </a:rPr>
              <a:t>в продукции фермеров и сельхозтоваропроизводителей</a:t>
            </a:r>
          </a:p>
        </p:txBody>
      </p:sp>
      <p:pic>
        <p:nvPicPr>
          <p:cNvPr id="45" name="Рисунок 4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836912" y="337492"/>
            <a:ext cx="1266517" cy="1260000"/>
          </a:xfrm>
          <a:prstGeom prst="rect">
            <a:avLst/>
          </a:prstGeom>
        </p:spPr>
      </p:pic>
      <p:pic>
        <p:nvPicPr>
          <p:cNvPr id="46" name="Рисунок 61">
            <a:extLst>
              <a:ext uri="{FF2B5EF4-FFF2-40B4-BE49-F238E27FC236}">
                <a16:creationId xmlns:a16="http://schemas.microsoft.com/office/drawing/2014/main" id="{ED2A8417-2BC5-887B-EC92-40F89A41BEFB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01479" y="476250"/>
            <a:ext cx="572813" cy="299463"/>
          </a:xfrm>
          <a:prstGeom prst="rect">
            <a:avLst/>
          </a:prstGeom>
        </p:spPr>
      </p:pic>
      <p:pic>
        <p:nvPicPr>
          <p:cNvPr id="47" name="Рисунок 46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3621" y="548239"/>
            <a:ext cx="1465327" cy="1554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11289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275957" y="124077"/>
            <a:ext cx="5791573" cy="5796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2786">
              <a:lnSpc>
                <a:spcPts val="3800"/>
              </a:lnSpc>
            </a:pPr>
            <a:r>
              <a:rPr lang="ru-RU" sz="2800" b="1" dirty="0">
                <a:solidFill>
                  <a:srgbClr val="9165E8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Реестр промышленных компаний </a:t>
            </a: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80918" y="5429696"/>
            <a:ext cx="1280991" cy="1274400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20178" y="1144245"/>
            <a:ext cx="3632212" cy="365748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9" name="Рисунок 61">
            <a:extLst>
              <a:ext uri="{FF2B5EF4-FFF2-40B4-BE49-F238E27FC236}">
                <a16:creationId xmlns:a16="http://schemas.microsoft.com/office/drawing/2014/main" id="{ED2A8417-2BC5-887B-EC92-40F89A41BEF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01479" y="476250"/>
            <a:ext cx="572813" cy="299463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3621" y="548239"/>
            <a:ext cx="1465327" cy="155484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0923" y="717323"/>
            <a:ext cx="1457268" cy="6026411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520937" y="703723"/>
            <a:ext cx="5162011" cy="5996685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3920484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297775" y="142199"/>
            <a:ext cx="7707381" cy="10669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2786">
              <a:lnSpc>
                <a:spcPts val="3800"/>
              </a:lnSpc>
            </a:pPr>
            <a:r>
              <a:rPr lang="ru-RU" sz="2800" b="1" dirty="0">
                <a:solidFill>
                  <a:srgbClr val="9165E8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Стать поставщиком ритейлеров</a:t>
            </a:r>
          </a:p>
          <a:p>
            <a:pPr marR="2786">
              <a:lnSpc>
                <a:spcPts val="3800"/>
              </a:lnSpc>
            </a:pPr>
            <a:r>
              <a:rPr lang="ru-RU" sz="2800" b="1" dirty="0">
                <a:solidFill>
                  <a:srgbClr val="9165E8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и производителей</a:t>
            </a: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992" y="5206575"/>
            <a:ext cx="1298727" cy="1315000"/>
          </a:xfrm>
          <a:prstGeom prst="rect">
            <a:avLst/>
          </a:prstGeom>
        </p:spPr>
      </p:pic>
      <p:pic>
        <p:nvPicPr>
          <p:cNvPr id="9" name="Рисунок 61">
            <a:extLst>
              <a:ext uri="{FF2B5EF4-FFF2-40B4-BE49-F238E27FC236}">
                <a16:creationId xmlns:a16="http://schemas.microsoft.com/office/drawing/2014/main" id="{ED2A8417-2BC5-887B-EC92-40F89A41BEF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01479" y="476250"/>
            <a:ext cx="572813" cy="299463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3621" y="548239"/>
            <a:ext cx="1465327" cy="155484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6006" y="1525682"/>
            <a:ext cx="4367507" cy="3364369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888862" y="703723"/>
            <a:ext cx="1053116" cy="6055417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287327" y="775713"/>
            <a:ext cx="5063160" cy="5926916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6635442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52" name="Слайд think-cell" r:id="rId5" imgW="347" imgH="348" progId="TCLayout.ActiveDocument.1">
                  <p:embed/>
                </p:oleObj>
              </mc:Choice>
              <mc:Fallback>
                <p:oleObj name="Слайд think-cell" r:id="rId5" imgW="347" imgH="348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Прямоугольник 25"/>
          <p:cNvSpPr/>
          <p:nvPr/>
        </p:nvSpPr>
        <p:spPr>
          <a:xfrm>
            <a:off x="355907" y="319141"/>
            <a:ext cx="9348810" cy="4616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defTabSz="457200">
              <a:lnSpc>
                <a:spcPts val="3600"/>
              </a:lnSpc>
              <a:defRPr/>
            </a:pPr>
            <a:endParaRPr lang="ru-RU" sz="3600" dirty="0"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6185115" y="1473908"/>
            <a:ext cx="327102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 smtClean="0">
                <a:solidFill>
                  <a:srgbClr val="181818"/>
                </a:solidFill>
                <a:latin typeface="PT Root UI Bold" panose="020B0603020202020204" pitchFamily="34" charset="-52"/>
                <a:ea typeface="PT Root UI Bold" panose="020B0603020202020204" pitchFamily="34" charset="-52"/>
              </a:rPr>
              <a:t>Международная кооперация</a:t>
            </a:r>
            <a:endParaRPr lang="ru-RU" dirty="0">
              <a:latin typeface="PT Root UI Bold" panose="020B0603020202020204" pitchFamily="34" charset="-52"/>
              <a:ea typeface="PT Root UI Bold" panose="020B0603020202020204" pitchFamily="34" charset="-52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382477" y="1473908"/>
            <a:ext cx="345748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 smtClean="0">
                <a:solidFill>
                  <a:srgbClr val="181818"/>
                </a:solidFill>
                <a:latin typeface="PT Root UI Bold" panose="020B0603020202020204" pitchFamily="34" charset="-52"/>
                <a:ea typeface="PT Root UI Bold" panose="020B0603020202020204" pitchFamily="34" charset="-52"/>
              </a:rPr>
              <a:t>Межрегиональная кооперация</a:t>
            </a:r>
            <a:endParaRPr lang="ru-RU" dirty="0">
              <a:latin typeface="PT Root UI Bold" panose="020B0603020202020204" pitchFamily="34" charset="-52"/>
              <a:ea typeface="PT Root UI Bold" panose="020B0603020202020204" pitchFamily="34" charset="-52"/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/>
          </p:nvPr>
        </p:nvGraphicFramePr>
        <p:xfrm>
          <a:off x="6249833" y="2552172"/>
          <a:ext cx="4922751" cy="88582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819630">
                  <a:extLst>
                    <a:ext uri="{9D8B030D-6E8A-4147-A177-3AD203B41FA5}">
                      <a16:colId xmlns:a16="http://schemas.microsoft.com/office/drawing/2014/main" val="2386158612"/>
                    </a:ext>
                  </a:extLst>
                </a:gridCol>
                <a:gridCol w="681644">
                  <a:extLst>
                    <a:ext uri="{9D8B030D-6E8A-4147-A177-3AD203B41FA5}">
                      <a16:colId xmlns:a16="http://schemas.microsoft.com/office/drawing/2014/main" val="625226143"/>
                    </a:ext>
                  </a:extLst>
                </a:gridCol>
                <a:gridCol w="656705">
                  <a:extLst>
                    <a:ext uri="{9D8B030D-6E8A-4147-A177-3AD203B41FA5}">
                      <a16:colId xmlns:a16="http://schemas.microsoft.com/office/drawing/2014/main" val="141082409"/>
                    </a:ext>
                  </a:extLst>
                </a:gridCol>
                <a:gridCol w="764772">
                  <a:extLst>
                    <a:ext uri="{9D8B030D-6E8A-4147-A177-3AD203B41FA5}">
                      <a16:colId xmlns:a16="http://schemas.microsoft.com/office/drawing/2014/main" val="3038914209"/>
                    </a:ext>
                  </a:extLst>
                </a:gridCol>
              </a:tblGrid>
              <a:tr h="29527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u="none" strike="noStrike" dirty="0" smtClean="0">
                          <a:effectLst/>
                          <a:latin typeface="PT Root UI" panose="020B0303020202020204" pitchFamily="34" charset="-52"/>
                          <a:ea typeface="PT Root UI" panose="020B0303020202020204" pitchFamily="34" charset="-52"/>
                        </a:rPr>
                        <a:t> Количество заказчиков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PT Root UI" panose="020B0303020202020204" pitchFamily="34" charset="-52"/>
                        <a:ea typeface="PT Root UI" panose="020B0303020202020204" pitchFamily="34" charset="-5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 dirty="0">
                          <a:solidFill>
                            <a:schemeClr val="tx1"/>
                          </a:solidFill>
                          <a:effectLst/>
                          <a:latin typeface="PT Root UI Bold" panose="020B0603020202020204" pitchFamily="34" charset="-52"/>
                          <a:ea typeface="PT Root UI Bold" panose="020B0603020202020204" pitchFamily="34" charset="-52"/>
                        </a:rPr>
                        <a:t>32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PT Root UI Bold" panose="020B0603020202020204" pitchFamily="34" charset="-52"/>
                        <a:ea typeface="PT Root UI Bold" panose="020B0603020202020204" pitchFamily="34" charset="-5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 dirty="0" smtClean="0">
                          <a:solidFill>
                            <a:schemeClr val="tx1"/>
                          </a:solidFill>
                          <a:effectLst/>
                          <a:latin typeface="PT Root UI Bold" panose="020B0603020202020204" pitchFamily="34" charset="-52"/>
                          <a:ea typeface="PT Root UI Bold" panose="020B0603020202020204" pitchFamily="34" charset="-52"/>
                        </a:rPr>
                        <a:t>59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PT Root UI Bold" panose="020B0603020202020204" pitchFamily="34" charset="-52"/>
                        <a:ea typeface="PT Root UI Bold" panose="020B0603020202020204" pitchFamily="34" charset="-5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rgbClr val="9165E8"/>
                          </a:solidFill>
                          <a:effectLst/>
                          <a:latin typeface="PT Root UI Bold" panose="020B0603020202020204" pitchFamily="34" charset="-52"/>
                          <a:ea typeface="PT Root UI Bold" panose="020B0603020202020204" pitchFamily="34" charset="-52"/>
                        </a:rPr>
                        <a:t> 72</a:t>
                      </a:r>
                      <a:endParaRPr lang="ru-RU" sz="1600" b="0" i="0" u="none" strike="noStrike" dirty="0">
                        <a:solidFill>
                          <a:srgbClr val="9165E8"/>
                        </a:solidFill>
                        <a:effectLst/>
                        <a:latin typeface="PT Root UI Bold" panose="020B0603020202020204" pitchFamily="34" charset="-52"/>
                        <a:ea typeface="PT Root UI Bold" panose="020B0603020202020204" pitchFamily="34" charset="-52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27016376"/>
                  </a:ext>
                </a:extLst>
              </a:tr>
              <a:tr h="29527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u="none" strike="noStrike" dirty="0" smtClean="0">
                          <a:effectLst/>
                          <a:latin typeface="PT Root UI" panose="020B0303020202020204" pitchFamily="34" charset="-52"/>
                          <a:ea typeface="PT Root UI" panose="020B0303020202020204" pitchFamily="34" charset="-52"/>
                        </a:rPr>
                        <a:t> Количество </a:t>
                      </a:r>
                      <a:r>
                        <a:rPr lang="ru-RU" sz="1600" u="none" strike="noStrike" dirty="0">
                          <a:effectLst/>
                          <a:latin typeface="PT Root UI" panose="020B0303020202020204" pitchFamily="34" charset="-52"/>
                          <a:ea typeface="PT Root UI" panose="020B0303020202020204" pitchFamily="34" charset="-52"/>
                        </a:rPr>
                        <a:t>откликов от МСП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PT Root UI" panose="020B0303020202020204" pitchFamily="34" charset="-52"/>
                        <a:ea typeface="PT Root UI" panose="020B0303020202020204" pitchFamily="34" charset="-5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 dirty="0">
                          <a:solidFill>
                            <a:schemeClr val="tx1"/>
                          </a:solidFill>
                          <a:effectLst/>
                          <a:latin typeface="PT Root UI Bold" panose="020B0603020202020204" pitchFamily="34" charset="-52"/>
                          <a:ea typeface="PT Root UI Bold" panose="020B0603020202020204" pitchFamily="34" charset="-52"/>
                        </a:rPr>
                        <a:t>127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PT Root UI Bold" panose="020B0603020202020204" pitchFamily="34" charset="-52"/>
                        <a:ea typeface="PT Root UI Bold" panose="020B0603020202020204" pitchFamily="34" charset="-5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 dirty="0" smtClean="0">
                          <a:solidFill>
                            <a:schemeClr val="tx1"/>
                          </a:solidFill>
                          <a:effectLst/>
                          <a:latin typeface="PT Root UI Bold" panose="020B0603020202020204" pitchFamily="34" charset="-52"/>
                          <a:ea typeface="PT Root UI Bold" panose="020B0603020202020204" pitchFamily="34" charset="-52"/>
                        </a:rPr>
                        <a:t>306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PT Root UI Bold" panose="020B0603020202020204" pitchFamily="34" charset="-52"/>
                        <a:ea typeface="PT Root UI Bold" panose="020B0603020202020204" pitchFamily="34" charset="-5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i="0" u="none" strike="noStrike" dirty="0" smtClean="0">
                          <a:solidFill>
                            <a:srgbClr val="9165E8"/>
                          </a:solidFill>
                          <a:effectLst/>
                          <a:latin typeface="PT Root UI Bold" panose="020B0603020202020204" pitchFamily="34" charset="-52"/>
                          <a:ea typeface="PT Root UI Bold" panose="020B0603020202020204" pitchFamily="34" charset="-52"/>
                        </a:rPr>
                        <a:t> 9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52032526"/>
                  </a:ext>
                </a:extLst>
              </a:tr>
              <a:tr h="29527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u="none" strike="noStrike" dirty="0" smtClean="0">
                          <a:effectLst/>
                          <a:latin typeface="PT Root UI" panose="020B0303020202020204" pitchFamily="34" charset="-52"/>
                          <a:ea typeface="PT Root UI" panose="020B0303020202020204" pitchFamily="34" charset="-52"/>
                        </a:rPr>
                        <a:t> Количество </a:t>
                      </a:r>
                      <a:r>
                        <a:rPr lang="ru-RU" sz="1600" u="none" strike="noStrike" dirty="0">
                          <a:effectLst/>
                          <a:latin typeface="PT Root UI" panose="020B0303020202020204" pitchFamily="34" charset="-52"/>
                          <a:ea typeface="PT Root UI" panose="020B0303020202020204" pitchFamily="34" charset="-52"/>
                        </a:rPr>
                        <a:t>сделок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PT Root UI" panose="020B0303020202020204" pitchFamily="34" charset="-52"/>
                        <a:ea typeface="PT Root UI" panose="020B0303020202020204" pitchFamily="34" charset="-5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 dirty="0">
                          <a:solidFill>
                            <a:schemeClr val="tx1"/>
                          </a:solidFill>
                          <a:effectLst/>
                          <a:latin typeface="PT Root UI Bold" panose="020B0603020202020204" pitchFamily="34" charset="-52"/>
                          <a:ea typeface="PT Root UI Bold" panose="020B0603020202020204" pitchFamily="34" charset="-52"/>
                        </a:rPr>
                        <a:t>11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PT Root UI Bold" panose="020B0603020202020204" pitchFamily="34" charset="-52"/>
                        <a:ea typeface="PT Root UI Bold" panose="020B0603020202020204" pitchFamily="34" charset="-5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 dirty="0" smtClean="0">
                          <a:solidFill>
                            <a:schemeClr val="tx1"/>
                          </a:solidFill>
                          <a:effectLst/>
                          <a:latin typeface="PT Root UI Bold" panose="020B0603020202020204" pitchFamily="34" charset="-52"/>
                          <a:ea typeface="PT Root UI Bold" panose="020B0603020202020204" pitchFamily="34" charset="-52"/>
                        </a:rPr>
                        <a:t>28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PT Root UI Bold" panose="020B0603020202020204" pitchFamily="34" charset="-52"/>
                        <a:ea typeface="PT Root UI Bold" panose="020B0603020202020204" pitchFamily="34" charset="-5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i="0" u="none" strike="noStrike" dirty="0" smtClean="0">
                          <a:solidFill>
                            <a:srgbClr val="9165E8"/>
                          </a:solidFill>
                          <a:effectLst/>
                          <a:latin typeface="PT Root UI Bold" panose="020B0603020202020204" pitchFamily="34" charset="-52"/>
                          <a:ea typeface="PT Root UI Bold" panose="020B0603020202020204" pitchFamily="34" charset="-52"/>
                        </a:rPr>
                        <a:t> 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19546673"/>
                  </a:ext>
                </a:extLst>
              </a:tr>
            </a:tbl>
          </a:graphicData>
        </a:graphic>
      </p:graphicFrame>
      <p:sp>
        <p:nvSpPr>
          <p:cNvPr id="6" name="Прямоугольник 5"/>
          <p:cNvSpPr/>
          <p:nvPr/>
        </p:nvSpPr>
        <p:spPr>
          <a:xfrm>
            <a:off x="9142462" y="2298825"/>
            <a:ext cx="59182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ctr"/>
            <a:r>
              <a:rPr lang="ru-RU" sz="1400" dirty="0" smtClean="0">
                <a:solidFill>
                  <a:schemeClr val="bg2">
                    <a:lumMod val="75000"/>
                  </a:schemeClr>
                </a:solidFill>
                <a:latin typeface="PT Root UI Bold" panose="020B0603020202020204" pitchFamily="34" charset="-52"/>
                <a:ea typeface="PT Root UI Bold" panose="020B0603020202020204" pitchFamily="34" charset="-52"/>
              </a:rPr>
              <a:t>2022</a:t>
            </a:r>
            <a:endParaRPr lang="ru-RU" sz="1400" dirty="0">
              <a:solidFill>
                <a:schemeClr val="bg2">
                  <a:lumMod val="75000"/>
                </a:schemeClr>
              </a:solidFill>
              <a:latin typeface="PT Root UI Bold" panose="020B0603020202020204" pitchFamily="34" charset="-52"/>
              <a:ea typeface="PT Root UI Bold" panose="020B0603020202020204" pitchFamily="34" charset="-52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9789709" y="2298825"/>
            <a:ext cx="59663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ctr"/>
            <a:r>
              <a:rPr lang="ru-RU" sz="1400" dirty="0" smtClean="0">
                <a:solidFill>
                  <a:schemeClr val="bg2">
                    <a:lumMod val="75000"/>
                  </a:schemeClr>
                </a:solidFill>
                <a:latin typeface="PT Root UI Bold" panose="020B0603020202020204" pitchFamily="34" charset="-52"/>
                <a:ea typeface="PT Root UI Bold" panose="020B0603020202020204" pitchFamily="34" charset="-52"/>
              </a:rPr>
              <a:t>2023</a:t>
            </a:r>
            <a:endParaRPr lang="ru-RU" sz="1400" dirty="0">
              <a:solidFill>
                <a:schemeClr val="bg2">
                  <a:lumMod val="75000"/>
                </a:schemeClr>
              </a:solidFill>
              <a:latin typeface="PT Root UI Bold" panose="020B0603020202020204" pitchFamily="34" charset="-52"/>
              <a:ea typeface="PT Root UI Bold" panose="020B0603020202020204" pitchFamily="34" charset="-52"/>
            </a:endParaRPr>
          </a:p>
        </p:txBody>
      </p:sp>
      <p:graphicFrame>
        <p:nvGraphicFramePr>
          <p:cNvPr id="16" name="Таблица 15"/>
          <p:cNvGraphicFramePr>
            <a:graphicFrameLocks noGrp="1"/>
          </p:cNvGraphicFramePr>
          <p:nvPr>
            <p:extLst/>
          </p:nvPr>
        </p:nvGraphicFramePr>
        <p:xfrm>
          <a:off x="437894" y="2556620"/>
          <a:ext cx="4922751" cy="88582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819630">
                  <a:extLst>
                    <a:ext uri="{9D8B030D-6E8A-4147-A177-3AD203B41FA5}">
                      <a16:colId xmlns:a16="http://schemas.microsoft.com/office/drawing/2014/main" val="2386158612"/>
                    </a:ext>
                  </a:extLst>
                </a:gridCol>
                <a:gridCol w="681644">
                  <a:extLst>
                    <a:ext uri="{9D8B030D-6E8A-4147-A177-3AD203B41FA5}">
                      <a16:colId xmlns:a16="http://schemas.microsoft.com/office/drawing/2014/main" val="625226143"/>
                    </a:ext>
                  </a:extLst>
                </a:gridCol>
                <a:gridCol w="656705">
                  <a:extLst>
                    <a:ext uri="{9D8B030D-6E8A-4147-A177-3AD203B41FA5}">
                      <a16:colId xmlns:a16="http://schemas.microsoft.com/office/drawing/2014/main" val="141082409"/>
                    </a:ext>
                  </a:extLst>
                </a:gridCol>
                <a:gridCol w="764772">
                  <a:extLst>
                    <a:ext uri="{9D8B030D-6E8A-4147-A177-3AD203B41FA5}">
                      <a16:colId xmlns:a16="http://schemas.microsoft.com/office/drawing/2014/main" val="3038914209"/>
                    </a:ext>
                  </a:extLst>
                </a:gridCol>
              </a:tblGrid>
              <a:tr h="29527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u="none" strike="noStrike" dirty="0" smtClean="0">
                          <a:effectLst/>
                          <a:latin typeface="PT Root UI" panose="020B0303020202020204" pitchFamily="34" charset="-52"/>
                          <a:ea typeface="PT Root UI" panose="020B0303020202020204" pitchFamily="34" charset="-52"/>
                        </a:rPr>
                        <a:t> Количество заказчиков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PT Root UI" panose="020B0303020202020204" pitchFamily="34" charset="-52"/>
                        <a:ea typeface="PT Root UI" panose="020B0303020202020204" pitchFamily="34" charset="-5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PT Root UI Bold" panose="020B0603020202020204" pitchFamily="34" charset="-52"/>
                          <a:ea typeface="PT Root UI Bold" panose="020B0603020202020204" pitchFamily="34" charset="-52"/>
                        </a:rPr>
                        <a:t>6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PT Root UI Bold" panose="020B0603020202020204" pitchFamily="34" charset="-52"/>
                          <a:ea typeface="PT Root UI Bold" panose="020B0603020202020204" pitchFamily="34" charset="-52"/>
                        </a:rPr>
                        <a:t>247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PT Root UI Bold" panose="020B0603020202020204" pitchFamily="34" charset="-52"/>
                        <a:ea typeface="PT Root UI Bold" panose="020B0603020202020204" pitchFamily="34" charset="-5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rgbClr val="9165E8"/>
                          </a:solidFill>
                          <a:effectLst/>
                          <a:latin typeface="PT Root UI Bold" panose="020B0603020202020204" pitchFamily="34" charset="-52"/>
                          <a:ea typeface="PT Root UI Bold" panose="020B0603020202020204" pitchFamily="34" charset="-52"/>
                        </a:rPr>
                        <a:t> 202</a:t>
                      </a:r>
                      <a:endParaRPr lang="ru-RU" sz="1600" b="0" i="0" u="none" strike="noStrike" dirty="0">
                        <a:solidFill>
                          <a:srgbClr val="9165E8"/>
                        </a:solidFill>
                        <a:effectLst/>
                        <a:latin typeface="PT Root UI Bold" panose="020B0603020202020204" pitchFamily="34" charset="-52"/>
                        <a:ea typeface="PT Root UI Bold" panose="020B0603020202020204" pitchFamily="34" charset="-52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27016376"/>
                  </a:ext>
                </a:extLst>
              </a:tr>
              <a:tr h="29527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u="none" strike="noStrike" dirty="0" smtClean="0">
                          <a:effectLst/>
                          <a:latin typeface="PT Root UI" panose="020B0303020202020204" pitchFamily="34" charset="-52"/>
                          <a:ea typeface="PT Root UI" panose="020B0303020202020204" pitchFamily="34" charset="-52"/>
                        </a:rPr>
                        <a:t> Количество </a:t>
                      </a:r>
                      <a:r>
                        <a:rPr lang="ru-RU" sz="1600" u="none" strike="noStrike" dirty="0">
                          <a:effectLst/>
                          <a:latin typeface="PT Root UI" panose="020B0303020202020204" pitchFamily="34" charset="-52"/>
                          <a:ea typeface="PT Root UI" panose="020B0303020202020204" pitchFamily="34" charset="-52"/>
                        </a:rPr>
                        <a:t>откликов от МСП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PT Root UI" panose="020B0303020202020204" pitchFamily="34" charset="-52"/>
                        <a:ea typeface="PT Root UI" panose="020B0303020202020204" pitchFamily="34" charset="-5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PT Root UI Bold" panose="020B0603020202020204" pitchFamily="34" charset="-52"/>
                          <a:ea typeface="PT Root UI Bold" panose="020B0603020202020204" pitchFamily="34" charset="-52"/>
                        </a:rPr>
                        <a:t>29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PT Root UI Bold" panose="020B0603020202020204" pitchFamily="34" charset="-52"/>
                          <a:ea typeface="PT Root UI Bold" panose="020B0603020202020204" pitchFamily="34" charset="-52"/>
                        </a:rPr>
                        <a:t>978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PT Root UI Bold" panose="020B0603020202020204" pitchFamily="34" charset="-52"/>
                        <a:ea typeface="PT Root UI Bold" panose="020B0603020202020204" pitchFamily="34" charset="-5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i="0" u="none" strike="noStrike" dirty="0" smtClean="0">
                          <a:solidFill>
                            <a:srgbClr val="9165E8"/>
                          </a:solidFill>
                          <a:effectLst/>
                          <a:latin typeface="PT Root UI Bold" panose="020B0603020202020204" pitchFamily="34" charset="-52"/>
                          <a:ea typeface="PT Root UI Bold" panose="020B0603020202020204" pitchFamily="34" charset="-52"/>
                        </a:rPr>
                        <a:t> 54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52032526"/>
                  </a:ext>
                </a:extLst>
              </a:tr>
              <a:tr h="29527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u="none" strike="noStrike" dirty="0" smtClean="0">
                          <a:effectLst/>
                          <a:latin typeface="PT Root UI" panose="020B0303020202020204" pitchFamily="34" charset="-52"/>
                          <a:ea typeface="PT Root UI" panose="020B0303020202020204" pitchFamily="34" charset="-52"/>
                        </a:rPr>
                        <a:t> Количество </a:t>
                      </a:r>
                      <a:r>
                        <a:rPr lang="ru-RU" sz="1600" u="none" strike="noStrike" dirty="0">
                          <a:effectLst/>
                          <a:latin typeface="PT Root UI" panose="020B0303020202020204" pitchFamily="34" charset="-52"/>
                          <a:ea typeface="PT Root UI" panose="020B0303020202020204" pitchFamily="34" charset="-52"/>
                        </a:rPr>
                        <a:t>сделок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PT Root UI" panose="020B0303020202020204" pitchFamily="34" charset="-52"/>
                        <a:ea typeface="PT Root UI" panose="020B0303020202020204" pitchFamily="34" charset="-5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PT Root UI Bold" panose="020B0603020202020204" pitchFamily="34" charset="-52"/>
                          <a:ea typeface="PT Root UI Bold" panose="020B0603020202020204" pitchFamily="34" charset="-52"/>
                        </a:rPr>
                        <a:t>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PT Root UI Bold" panose="020B0603020202020204" pitchFamily="34" charset="-52"/>
                          <a:ea typeface="PT Root UI Bold" panose="020B0603020202020204" pitchFamily="34" charset="-52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i="0" u="none" strike="noStrike" dirty="0" smtClean="0">
                          <a:solidFill>
                            <a:srgbClr val="9165E8"/>
                          </a:solidFill>
                          <a:effectLst/>
                          <a:latin typeface="PT Root UI Bold" panose="020B0603020202020204" pitchFamily="34" charset="-52"/>
                          <a:ea typeface="PT Root UI Bold" panose="020B0603020202020204" pitchFamily="34" charset="-52"/>
                        </a:rPr>
                        <a:t> 4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19546673"/>
                  </a:ext>
                </a:extLst>
              </a:tr>
            </a:tbl>
          </a:graphicData>
        </a:graphic>
      </p:graphicFrame>
      <p:sp>
        <p:nvSpPr>
          <p:cNvPr id="17" name="Прямоугольник 16"/>
          <p:cNvSpPr/>
          <p:nvPr/>
        </p:nvSpPr>
        <p:spPr>
          <a:xfrm>
            <a:off x="3330523" y="2303273"/>
            <a:ext cx="59182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ctr"/>
            <a:r>
              <a:rPr lang="ru-RU" sz="1400" dirty="0" smtClean="0">
                <a:solidFill>
                  <a:schemeClr val="bg2">
                    <a:lumMod val="75000"/>
                  </a:schemeClr>
                </a:solidFill>
                <a:latin typeface="PT Root UI Bold" panose="020B0603020202020204" pitchFamily="34" charset="-52"/>
                <a:ea typeface="PT Root UI Bold" panose="020B0603020202020204" pitchFamily="34" charset="-52"/>
              </a:rPr>
              <a:t>2022</a:t>
            </a:r>
            <a:endParaRPr lang="ru-RU" sz="1400" dirty="0">
              <a:solidFill>
                <a:schemeClr val="bg2">
                  <a:lumMod val="75000"/>
                </a:schemeClr>
              </a:solidFill>
              <a:latin typeface="PT Root UI Bold" panose="020B0603020202020204" pitchFamily="34" charset="-52"/>
              <a:ea typeface="PT Root UI Bold" panose="020B0603020202020204" pitchFamily="34" charset="-52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3977770" y="2303273"/>
            <a:ext cx="59663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ctr"/>
            <a:r>
              <a:rPr lang="ru-RU" sz="1400" dirty="0" smtClean="0">
                <a:solidFill>
                  <a:schemeClr val="bg2">
                    <a:lumMod val="75000"/>
                  </a:schemeClr>
                </a:solidFill>
                <a:latin typeface="PT Root UI Bold" panose="020B0603020202020204" pitchFamily="34" charset="-52"/>
                <a:ea typeface="PT Root UI Bold" panose="020B0603020202020204" pitchFamily="34" charset="-52"/>
              </a:rPr>
              <a:t>2023</a:t>
            </a:r>
            <a:endParaRPr lang="ru-RU" sz="1400" dirty="0">
              <a:solidFill>
                <a:schemeClr val="bg2">
                  <a:lumMod val="75000"/>
                </a:schemeClr>
              </a:solidFill>
              <a:latin typeface="PT Root UI Bold" panose="020B0603020202020204" pitchFamily="34" charset="-52"/>
              <a:ea typeface="PT Root UI Bold" panose="020B0603020202020204" pitchFamily="34" charset="-52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6185115" y="1760440"/>
            <a:ext cx="2513958" cy="61555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dirty="0">
                <a:solidFill>
                  <a:srgbClr val="181818"/>
                </a:solidFill>
                <a:latin typeface="PT Root UI" panose="020B0303020202020204" pitchFamily="34" charset="-52"/>
                <a:ea typeface="PT Root UI" panose="020B0303020202020204" pitchFamily="34" charset="-52"/>
              </a:rPr>
              <a:t>Разместили </a:t>
            </a:r>
            <a:r>
              <a:rPr lang="ru-RU" sz="1600" dirty="0" smtClean="0">
                <a:solidFill>
                  <a:srgbClr val="181818"/>
                </a:solidFill>
                <a:latin typeface="PT Root UI" panose="020B0303020202020204" pitchFamily="34" charset="-52"/>
                <a:ea typeface="PT Root UI" panose="020B0303020202020204" pitchFamily="34" charset="-52"/>
              </a:rPr>
              <a:t>спрос</a:t>
            </a:r>
          </a:p>
          <a:p>
            <a:r>
              <a:rPr lang="ru-RU" b="1" dirty="0" smtClean="0">
                <a:solidFill>
                  <a:srgbClr val="181818"/>
                </a:solidFill>
                <a:latin typeface="PT Root UI Bold" panose="020B0603020202020204" pitchFamily="34" charset="-52"/>
                <a:ea typeface="PT Root UI Bold" panose="020B0603020202020204" pitchFamily="34" charset="-52"/>
              </a:rPr>
              <a:t>72</a:t>
            </a:r>
            <a:r>
              <a:rPr lang="ru-RU" b="1" dirty="0" smtClean="0">
                <a:solidFill>
                  <a:srgbClr val="181818"/>
                </a:solidFill>
                <a:latin typeface="PT Root UI" panose="020B0303020202020204" pitchFamily="34" charset="-52"/>
                <a:ea typeface="PT Root UI" panose="020B0303020202020204" pitchFamily="34" charset="-52"/>
              </a:rPr>
              <a:t> </a:t>
            </a:r>
            <a:r>
              <a:rPr lang="ru-RU" sz="1600" dirty="0" smtClean="0">
                <a:solidFill>
                  <a:srgbClr val="181818"/>
                </a:solidFill>
                <a:latin typeface="PT Root UI" panose="020B0303020202020204" pitchFamily="34" charset="-52"/>
                <a:ea typeface="PT Root UI" panose="020B0303020202020204" pitchFamily="34" charset="-52"/>
              </a:rPr>
              <a:t>компании из </a:t>
            </a:r>
            <a:r>
              <a:rPr lang="ru-RU" sz="1600" b="1" dirty="0" smtClean="0">
                <a:solidFill>
                  <a:srgbClr val="181818"/>
                </a:solidFill>
                <a:latin typeface="PT Root UI" panose="020B0303020202020204" pitchFamily="34" charset="-52"/>
                <a:ea typeface="PT Root UI" panose="020B0303020202020204" pitchFamily="34" charset="-52"/>
              </a:rPr>
              <a:t>12</a:t>
            </a:r>
            <a:r>
              <a:rPr lang="ru-RU" b="1" dirty="0" smtClean="0">
                <a:solidFill>
                  <a:srgbClr val="181818"/>
                </a:solidFill>
                <a:latin typeface="PT Root UI" panose="020B0303020202020204" pitchFamily="34" charset="-52"/>
                <a:ea typeface="PT Root UI" panose="020B0303020202020204" pitchFamily="34" charset="-52"/>
              </a:rPr>
              <a:t> </a:t>
            </a:r>
            <a:r>
              <a:rPr lang="ru-RU" sz="1600" dirty="0" smtClean="0">
                <a:solidFill>
                  <a:srgbClr val="181818"/>
                </a:solidFill>
                <a:latin typeface="PT Root UI" panose="020B0303020202020204" pitchFamily="34" charset="-52"/>
                <a:ea typeface="PT Root UI" panose="020B0303020202020204" pitchFamily="34" charset="-52"/>
              </a:rPr>
              <a:t>стран</a:t>
            </a:r>
            <a:endParaRPr lang="ru-RU" sz="1600" dirty="0">
              <a:latin typeface="PT Root UI" panose="020B0303020202020204" pitchFamily="34" charset="-52"/>
              <a:ea typeface="PT Root UI" panose="020B0303020202020204" pitchFamily="34" charset="-52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382477" y="1760441"/>
            <a:ext cx="5238293" cy="61555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dirty="0" smtClean="0">
                <a:solidFill>
                  <a:srgbClr val="181818"/>
                </a:solidFill>
                <a:latin typeface="PT Root UI" panose="020B0303020202020204" pitchFamily="34" charset="-52"/>
                <a:ea typeface="PT Root UI" panose="020B0303020202020204" pitchFamily="34" charset="-52"/>
              </a:rPr>
              <a:t>Разместили спрос</a:t>
            </a:r>
          </a:p>
          <a:p>
            <a:r>
              <a:rPr lang="ru-RU" b="1" dirty="0" smtClean="0">
                <a:solidFill>
                  <a:srgbClr val="181818"/>
                </a:solidFill>
                <a:latin typeface="PT Root UI Bold" panose="020B0603020202020204" pitchFamily="34" charset="-52"/>
                <a:ea typeface="PT Root UI Bold" panose="020B0603020202020204" pitchFamily="34" charset="-52"/>
              </a:rPr>
              <a:t>123</a:t>
            </a:r>
            <a:r>
              <a:rPr lang="ru-RU" sz="1600" dirty="0" smtClean="0">
                <a:solidFill>
                  <a:srgbClr val="181818"/>
                </a:solidFill>
                <a:latin typeface="PT Root UI" panose="020B0303020202020204" pitchFamily="34" charset="-52"/>
                <a:ea typeface="PT Root UI" panose="020B0303020202020204" pitchFamily="34" charset="-52"/>
              </a:rPr>
              <a:t> крупные компании и </a:t>
            </a:r>
            <a:r>
              <a:rPr lang="ru-RU" sz="1600" b="1" dirty="0" smtClean="0">
                <a:solidFill>
                  <a:srgbClr val="181818"/>
                </a:solidFill>
                <a:latin typeface="PT Root UI Bold" panose="020B0603020202020204" pitchFamily="34" charset="-52"/>
                <a:ea typeface="PT Root UI Bold" panose="020B0603020202020204" pitchFamily="34" charset="-52"/>
              </a:rPr>
              <a:t>79</a:t>
            </a:r>
            <a:r>
              <a:rPr lang="ru-RU" sz="1600" dirty="0" smtClean="0">
                <a:solidFill>
                  <a:srgbClr val="181818"/>
                </a:solidFill>
                <a:latin typeface="PT Root UI" panose="020B0303020202020204" pitchFamily="34" charset="-52"/>
                <a:ea typeface="PT Root UI" panose="020B0303020202020204" pitchFamily="34" charset="-52"/>
              </a:rPr>
              <a:t> МСП из </a:t>
            </a:r>
            <a:r>
              <a:rPr lang="ru-RU" sz="1600" b="1" dirty="0" smtClean="0">
                <a:solidFill>
                  <a:srgbClr val="181818"/>
                </a:solidFill>
                <a:latin typeface="PT Root UI Bold" panose="020B0603020202020204" pitchFamily="34" charset="-52"/>
                <a:ea typeface="PT Root UI Bold" panose="020B0603020202020204" pitchFamily="34" charset="-52"/>
              </a:rPr>
              <a:t>58</a:t>
            </a:r>
            <a:r>
              <a:rPr lang="ru-RU" sz="1600" b="1" dirty="0" smtClean="0">
                <a:solidFill>
                  <a:srgbClr val="181818"/>
                </a:solidFill>
                <a:latin typeface="PT Root UI" panose="020B0303020202020204" pitchFamily="34" charset="-52"/>
                <a:ea typeface="PT Root UI" panose="020B0303020202020204" pitchFamily="34" charset="-52"/>
              </a:rPr>
              <a:t> </a:t>
            </a:r>
            <a:r>
              <a:rPr lang="ru-RU" sz="1600" dirty="0" smtClean="0">
                <a:solidFill>
                  <a:srgbClr val="181818"/>
                </a:solidFill>
                <a:latin typeface="PT Root UI" panose="020B0303020202020204" pitchFamily="34" charset="-52"/>
                <a:ea typeface="PT Root UI" panose="020B0303020202020204" pitchFamily="34" charset="-52"/>
              </a:rPr>
              <a:t>субъектов РФ</a:t>
            </a:r>
            <a:endParaRPr lang="ru-RU" sz="1600" dirty="0">
              <a:latin typeface="PT Root UI" panose="020B0303020202020204" pitchFamily="34" charset="-52"/>
              <a:ea typeface="PT Root UI" panose="020B0303020202020204" pitchFamily="34" charset="-52"/>
            </a:endParaRPr>
          </a:p>
        </p:txBody>
      </p:sp>
      <p:sp>
        <p:nvSpPr>
          <p:cNvPr id="27" name="Rounded Rectangle 1">
            <a:extLst>
              <a:ext uri="{FF2B5EF4-FFF2-40B4-BE49-F238E27FC236}">
                <a16:creationId xmlns:a16="http://schemas.microsoft.com/office/drawing/2014/main" id="{A0A5BB4C-475C-902C-1DAF-655069B1AE51}"/>
              </a:ext>
            </a:extLst>
          </p:cNvPr>
          <p:cNvSpPr/>
          <p:nvPr/>
        </p:nvSpPr>
        <p:spPr>
          <a:xfrm>
            <a:off x="296134" y="1374780"/>
            <a:ext cx="5697342" cy="2282823"/>
          </a:xfrm>
          <a:prstGeom prst="roundRect">
            <a:avLst>
              <a:gd name="adj" fmla="val 6650"/>
            </a:avLst>
          </a:prstGeom>
          <a:noFill/>
          <a:ln>
            <a:solidFill>
              <a:srgbClr val="9165E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sz="1100" dirty="0" smtClean="0">
              <a:solidFill>
                <a:srgbClr val="9165E8"/>
              </a:solidFill>
              <a:latin typeface="PT Root UI Bold" panose="020B0603020202020204" pitchFamily="34" charset="-52"/>
              <a:ea typeface="PT Root UI Bold" panose="020B0603020202020204" pitchFamily="34" charset="-52"/>
            </a:endParaRPr>
          </a:p>
        </p:txBody>
      </p:sp>
      <p:sp>
        <p:nvSpPr>
          <p:cNvPr id="28" name="Rounded Rectangle 1">
            <a:extLst>
              <a:ext uri="{FF2B5EF4-FFF2-40B4-BE49-F238E27FC236}">
                <a16:creationId xmlns:a16="http://schemas.microsoft.com/office/drawing/2014/main" id="{A0A5BB4C-475C-902C-1DAF-655069B1AE51}"/>
              </a:ext>
            </a:extLst>
          </p:cNvPr>
          <p:cNvSpPr/>
          <p:nvPr/>
        </p:nvSpPr>
        <p:spPr>
          <a:xfrm>
            <a:off x="6129317" y="1374780"/>
            <a:ext cx="5766195" cy="2282823"/>
          </a:xfrm>
          <a:prstGeom prst="roundRect">
            <a:avLst>
              <a:gd name="adj" fmla="val 6650"/>
            </a:avLst>
          </a:prstGeom>
          <a:noFill/>
          <a:ln>
            <a:solidFill>
              <a:srgbClr val="9165E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sz="1100" dirty="0" smtClean="0">
              <a:solidFill>
                <a:srgbClr val="9165E8"/>
              </a:solidFill>
              <a:latin typeface="PT Root UI Bold" panose="020B0603020202020204" pitchFamily="34" charset="-52"/>
              <a:ea typeface="PT Root UI Bold" panose="020B0603020202020204" pitchFamily="34" charset="-52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79CFAFD6-D9D2-87C9-499D-2BF8234A716A}"/>
              </a:ext>
            </a:extLst>
          </p:cNvPr>
          <p:cNvSpPr txBox="1"/>
          <p:nvPr/>
        </p:nvSpPr>
        <p:spPr>
          <a:xfrm>
            <a:off x="355907" y="118525"/>
            <a:ext cx="849599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2800" b="1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noProof="0" dirty="0" smtClean="0">
                <a:solidFill>
                  <a:srgbClr val="9165E8"/>
                </a:solidFill>
              </a:rPr>
              <a:t>Результаты работы по развитию производственной кооперации и сбыта</a:t>
            </a:r>
            <a:endParaRPr kumimoji="0" lang="ru-RU" sz="2800" b="1" i="0" u="none" strike="noStrike" kern="1200" cap="none" spc="0" normalizeH="0" baseline="0" noProof="0" dirty="0" smtClean="0">
              <a:ln>
                <a:noFill/>
              </a:ln>
              <a:solidFill>
                <a:srgbClr val="9165E8"/>
              </a:solidFill>
              <a:effectLst/>
              <a:uLnTx/>
              <a:uFillTx/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437894" y="1082678"/>
            <a:ext cx="1100040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на </a:t>
            </a:r>
            <a:r>
              <a:rPr lang="ru-RU" sz="1000" dirty="0" smtClean="0">
                <a:solidFill>
                  <a:prstClr val="white">
                    <a:lumMod val="50000"/>
                  </a:prstClr>
                </a:solidFill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14.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06.2024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Segoe UI" panose="020B0502040204020203" pitchFamily="34" charset="0"/>
              <a:ea typeface="PT Root UI" panose="020B0303020202020204" pitchFamily="34" charset="-52"/>
              <a:cs typeface="Segoe UI" panose="020B0502040204020203" pitchFamily="34" charset="0"/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4473000" y="2298824"/>
            <a:ext cx="154634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ru-RU" sz="1400" dirty="0" smtClean="0">
                <a:solidFill>
                  <a:srgbClr val="9165E8"/>
                </a:solidFill>
                <a:latin typeface="PT Root UI Bold" panose="020B0603020202020204" pitchFamily="34" charset="-52"/>
                <a:ea typeface="PT Root UI Bold" panose="020B0603020202020204" pitchFamily="34" charset="-52"/>
              </a:rPr>
              <a:t>с начала 2024 г.</a:t>
            </a:r>
            <a:endParaRPr lang="ru-RU" sz="1400" dirty="0">
              <a:solidFill>
                <a:srgbClr val="9165E8"/>
              </a:solidFill>
              <a:latin typeface="PT Root UI Bold" panose="020B0603020202020204" pitchFamily="34" charset="-52"/>
              <a:ea typeface="PT Root UI Bold" panose="020B0603020202020204" pitchFamily="34" charset="-52"/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/>
          </p:nvPr>
        </p:nvGraphicFramePr>
        <p:xfrm>
          <a:off x="298502" y="4506607"/>
          <a:ext cx="11597010" cy="1924050"/>
        </p:xfrm>
        <a:graphic>
          <a:graphicData uri="http://schemas.openxmlformats.org/drawingml/2006/table">
            <a:tbl>
              <a:tblPr firstRow="1" bandRow="1">
                <a:tableStyleId>{5FD0F851-EC5A-4D38-B0AD-8093EC10F338}</a:tableStyleId>
              </a:tblPr>
              <a:tblGrid>
                <a:gridCol w="2245216">
                  <a:extLst>
                    <a:ext uri="{9D8B030D-6E8A-4147-A177-3AD203B41FA5}">
                      <a16:colId xmlns:a16="http://schemas.microsoft.com/office/drawing/2014/main" val="549069268"/>
                    </a:ext>
                  </a:extLst>
                </a:gridCol>
                <a:gridCol w="588498">
                  <a:extLst>
                    <a:ext uri="{9D8B030D-6E8A-4147-A177-3AD203B41FA5}">
                      <a16:colId xmlns:a16="http://schemas.microsoft.com/office/drawing/2014/main" val="3664885003"/>
                    </a:ext>
                  </a:extLst>
                </a:gridCol>
                <a:gridCol w="2098976">
                  <a:extLst>
                    <a:ext uri="{9D8B030D-6E8A-4147-A177-3AD203B41FA5}">
                      <a16:colId xmlns:a16="http://schemas.microsoft.com/office/drawing/2014/main" val="680685093"/>
                    </a:ext>
                  </a:extLst>
                </a:gridCol>
                <a:gridCol w="617923">
                  <a:extLst>
                    <a:ext uri="{9D8B030D-6E8A-4147-A177-3AD203B41FA5}">
                      <a16:colId xmlns:a16="http://schemas.microsoft.com/office/drawing/2014/main" val="3463830617"/>
                    </a:ext>
                  </a:extLst>
                </a:gridCol>
                <a:gridCol w="2265717">
                  <a:extLst>
                    <a:ext uri="{9D8B030D-6E8A-4147-A177-3AD203B41FA5}">
                      <a16:colId xmlns:a16="http://schemas.microsoft.com/office/drawing/2014/main" val="2362568817"/>
                    </a:ext>
                  </a:extLst>
                </a:gridCol>
                <a:gridCol w="760552">
                  <a:extLst>
                    <a:ext uri="{9D8B030D-6E8A-4147-A177-3AD203B41FA5}">
                      <a16:colId xmlns:a16="http://schemas.microsoft.com/office/drawing/2014/main" val="4124723026"/>
                    </a:ext>
                  </a:extLst>
                </a:gridCol>
                <a:gridCol w="2358487">
                  <a:extLst>
                    <a:ext uri="{9D8B030D-6E8A-4147-A177-3AD203B41FA5}">
                      <a16:colId xmlns:a16="http://schemas.microsoft.com/office/drawing/2014/main" val="236810440"/>
                    </a:ext>
                  </a:extLst>
                </a:gridCol>
                <a:gridCol w="661641">
                  <a:extLst>
                    <a:ext uri="{9D8B030D-6E8A-4147-A177-3AD203B41FA5}">
                      <a16:colId xmlns:a16="http://schemas.microsoft.com/office/drawing/2014/main" val="47429416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u="none" strike="noStrike" dirty="0" smtClean="0">
                          <a:effectLst/>
                          <a:latin typeface="PT Root UI Medium" panose="020B0503020202020204" pitchFamily="34" charset="-52"/>
                          <a:ea typeface="PT Root UI Medium" panose="020B0503020202020204" pitchFamily="34" charset="-52"/>
                        </a:rPr>
                        <a:t>г. Москва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T Root UI Medium" panose="020B0503020202020204" pitchFamily="34" charset="-52"/>
                        <a:ea typeface="PT Root UI Medium" panose="020B0503020202020204" pitchFamily="34" charset="-5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u="none" strike="noStrike" dirty="0" smtClean="0">
                          <a:effectLst/>
                          <a:latin typeface="PT Root UI Medium" panose="020B0503020202020204" pitchFamily="34" charset="-52"/>
                          <a:ea typeface="PT Root UI Medium" panose="020B0503020202020204" pitchFamily="34" charset="-52"/>
                        </a:rPr>
                        <a:t>1</a:t>
                      </a:r>
                      <a:r>
                        <a:rPr lang="en-US" sz="1200" b="0" u="none" strike="noStrike" dirty="0" smtClean="0">
                          <a:effectLst/>
                          <a:latin typeface="PT Root UI Medium" panose="020B0503020202020204" pitchFamily="34" charset="-52"/>
                          <a:ea typeface="PT Root UI Medium" panose="020B0503020202020204" pitchFamily="34" charset="-52"/>
                        </a:rPr>
                        <a:t>5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T Root UI Medium" panose="020B0503020202020204" pitchFamily="34" charset="-52"/>
                        <a:ea typeface="PT Root UI Medium" panose="020B0503020202020204" pitchFamily="34" charset="-5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PT Root UI Medium" panose="020B0503020202020204" pitchFamily="34" charset="-52"/>
                          <a:ea typeface="PT Root UI Medium" panose="020B0503020202020204" pitchFamily="34" charset="-52"/>
                        </a:rPr>
                        <a:t>Волгоградская область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PT Root UI Medium" panose="020B0503020202020204" pitchFamily="34" charset="-52"/>
                          <a:ea typeface="PT Root UI Medium" panose="020B0503020202020204" pitchFamily="34" charset="-52"/>
                        </a:rPr>
                        <a:t>3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T Root UI Medium" panose="020B0503020202020204" pitchFamily="34" charset="-52"/>
                        <a:ea typeface="PT Root UI Medium" panose="020B0503020202020204" pitchFamily="34" charset="-5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u="none" strike="noStrike" dirty="0">
                          <a:effectLst/>
                          <a:latin typeface="PT Root UI Medium" panose="020B0503020202020204" pitchFamily="34" charset="-52"/>
                          <a:ea typeface="PT Root UI Medium" panose="020B0503020202020204" pitchFamily="34" charset="-52"/>
                        </a:rPr>
                        <a:t>Самарская область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T Root UI Medium" panose="020B0503020202020204" pitchFamily="34" charset="-52"/>
                        <a:ea typeface="PT Root UI Medium" panose="020B0503020202020204" pitchFamily="34" charset="-5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PT Root UI Medium" panose="020B0503020202020204" pitchFamily="34" charset="-52"/>
                          <a:ea typeface="PT Root UI Medium" panose="020B0503020202020204" pitchFamily="34" charset="-52"/>
                        </a:rPr>
                        <a:t>2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T Root UI Medium" panose="020B0503020202020204" pitchFamily="34" charset="-52"/>
                        <a:ea typeface="PT Root UI Medium" panose="020B0503020202020204" pitchFamily="34" charset="-5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u="none" strike="noStrike" dirty="0">
                          <a:effectLst/>
                          <a:latin typeface="PT Root UI Medium" panose="020B0503020202020204" pitchFamily="34" charset="-52"/>
                          <a:ea typeface="PT Root UI Medium" panose="020B0503020202020204" pitchFamily="34" charset="-52"/>
                        </a:rPr>
                        <a:t>Республика Карелия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T Root UI Medium" panose="020B0503020202020204" pitchFamily="34" charset="-52"/>
                        <a:ea typeface="PT Root UI Medium" panose="020B0503020202020204" pitchFamily="34" charset="-5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u="none" strike="noStrike" dirty="0">
                          <a:effectLst/>
                          <a:latin typeface="PT Root UI Medium" panose="020B0503020202020204" pitchFamily="34" charset="-52"/>
                          <a:ea typeface="PT Root UI Medium" panose="020B0503020202020204" pitchFamily="34" charset="-52"/>
                        </a:rPr>
                        <a:t>1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T Root UI Medium" panose="020B0503020202020204" pitchFamily="34" charset="-52"/>
                        <a:ea typeface="PT Root UI Medium" panose="020B0503020202020204" pitchFamily="34" charset="-5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5106675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u="none" strike="noStrike" dirty="0" smtClean="0">
                          <a:effectLst/>
                          <a:latin typeface="PT Root UI Medium" panose="020B0503020202020204" pitchFamily="34" charset="-52"/>
                          <a:ea typeface="PT Root UI Medium" panose="020B0503020202020204" pitchFamily="34" charset="-52"/>
                        </a:rPr>
                        <a:t>Республика Татарстан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T Root UI Medium" panose="020B0503020202020204" pitchFamily="34" charset="-52"/>
                        <a:ea typeface="PT Root UI Medium" panose="020B0503020202020204" pitchFamily="34" charset="-5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PT Root UI Medium" panose="020B0503020202020204" pitchFamily="34" charset="-52"/>
                          <a:ea typeface="PT Root UI Medium" panose="020B0503020202020204" pitchFamily="34" charset="-52"/>
                        </a:rPr>
                        <a:t>14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T Root UI Medium" panose="020B0503020202020204" pitchFamily="34" charset="-52"/>
                        <a:ea typeface="PT Root UI Medium" panose="020B0503020202020204" pitchFamily="34" charset="-5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PT Root UI Medium" panose="020B0503020202020204" pitchFamily="34" charset="-52"/>
                          <a:ea typeface="PT Root UI Medium" panose="020B0503020202020204" pitchFamily="34" charset="-52"/>
                        </a:rPr>
                        <a:t>Краснодарский край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PT Root UI Medium" panose="020B0503020202020204" pitchFamily="34" charset="-52"/>
                          <a:ea typeface="PT Root UI Medium" panose="020B0503020202020204" pitchFamily="34" charset="-52"/>
                        </a:rPr>
                        <a:t>3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T Root UI Medium" panose="020B0503020202020204" pitchFamily="34" charset="-52"/>
                        <a:ea typeface="PT Root UI Medium" panose="020B0503020202020204" pitchFamily="34" charset="-5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u="none" strike="noStrike" dirty="0">
                          <a:effectLst/>
                          <a:latin typeface="PT Root UI Medium" panose="020B0503020202020204" pitchFamily="34" charset="-52"/>
                          <a:ea typeface="PT Root UI Medium" panose="020B0503020202020204" pitchFamily="34" charset="-52"/>
                        </a:rPr>
                        <a:t>Ставропольский край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T Root UI Medium" panose="020B0503020202020204" pitchFamily="34" charset="-52"/>
                        <a:ea typeface="PT Root UI Medium" panose="020B0503020202020204" pitchFamily="34" charset="-5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PT Root UI Medium" panose="020B0503020202020204" pitchFamily="34" charset="-52"/>
                          <a:ea typeface="PT Root UI Medium" panose="020B0503020202020204" pitchFamily="34" charset="-52"/>
                        </a:rPr>
                        <a:t>2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T Root UI Medium" panose="020B0503020202020204" pitchFamily="34" charset="-52"/>
                        <a:ea typeface="PT Root UI Medium" panose="020B0503020202020204" pitchFamily="34" charset="-5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u="none" strike="noStrike" dirty="0">
                          <a:effectLst/>
                          <a:latin typeface="PT Root UI Medium" panose="020B0503020202020204" pitchFamily="34" charset="-52"/>
                          <a:ea typeface="PT Root UI Medium" panose="020B0503020202020204" pitchFamily="34" charset="-52"/>
                        </a:rPr>
                        <a:t>Республика </a:t>
                      </a:r>
                      <a:r>
                        <a:rPr lang="ru-RU" sz="1200" b="0" u="none" strike="noStrike" dirty="0" smtClean="0">
                          <a:effectLst/>
                          <a:latin typeface="PT Root UI Medium" panose="020B0503020202020204" pitchFamily="34" charset="-52"/>
                          <a:ea typeface="PT Root UI Medium" panose="020B0503020202020204" pitchFamily="34" charset="-52"/>
                        </a:rPr>
                        <a:t>Марий</a:t>
                      </a:r>
                      <a:r>
                        <a:rPr lang="ru-RU" sz="1200" b="0" u="none" strike="noStrike" baseline="0" dirty="0" smtClean="0">
                          <a:effectLst/>
                          <a:latin typeface="PT Root UI Medium" panose="020B0503020202020204" pitchFamily="34" charset="-52"/>
                          <a:ea typeface="PT Root UI Medium" panose="020B0503020202020204" pitchFamily="34" charset="-52"/>
                        </a:rPr>
                        <a:t> Эл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T Root UI Medium" panose="020B0503020202020204" pitchFamily="34" charset="-52"/>
                        <a:ea typeface="PT Root UI Medium" panose="020B0503020202020204" pitchFamily="34" charset="-5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u="none" strike="noStrike" dirty="0">
                          <a:effectLst/>
                          <a:latin typeface="PT Root UI Medium" panose="020B0503020202020204" pitchFamily="34" charset="-52"/>
                          <a:ea typeface="PT Root UI Medium" panose="020B0503020202020204" pitchFamily="34" charset="-52"/>
                        </a:rPr>
                        <a:t>1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T Root UI Medium" panose="020B0503020202020204" pitchFamily="34" charset="-52"/>
                        <a:ea typeface="PT Root UI Medium" panose="020B0503020202020204" pitchFamily="34" charset="-5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81482127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u="none" strike="noStrike" dirty="0">
                          <a:effectLst/>
                          <a:latin typeface="PT Root UI Medium" panose="020B0503020202020204" pitchFamily="34" charset="-52"/>
                          <a:ea typeface="PT Root UI Medium" panose="020B0503020202020204" pitchFamily="34" charset="-52"/>
                        </a:rPr>
                        <a:t>Удмуртская Республика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T Root UI Medium" panose="020B0503020202020204" pitchFamily="34" charset="-52"/>
                        <a:ea typeface="PT Root UI Medium" panose="020B0503020202020204" pitchFamily="34" charset="-5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PT Root UI Medium" panose="020B0503020202020204" pitchFamily="34" charset="-52"/>
                          <a:ea typeface="PT Root UI Medium" panose="020B0503020202020204" pitchFamily="34" charset="-52"/>
                        </a:rPr>
                        <a:t>8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T Root UI Medium" panose="020B0503020202020204" pitchFamily="34" charset="-52"/>
                        <a:ea typeface="PT Root UI Medium" panose="020B0503020202020204" pitchFamily="34" charset="-5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u="none" strike="noStrike" dirty="0">
                          <a:effectLst/>
                          <a:latin typeface="PT Root UI Medium" panose="020B0503020202020204" pitchFamily="34" charset="-52"/>
                          <a:ea typeface="PT Root UI Medium" panose="020B0503020202020204" pitchFamily="34" charset="-52"/>
                        </a:rPr>
                        <a:t>Московская область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T Root UI Medium" panose="020B0503020202020204" pitchFamily="34" charset="-52"/>
                        <a:ea typeface="PT Root UI Medium" panose="020B0503020202020204" pitchFamily="34" charset="-5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PT Root UI Medium" panose="020B0503020202020204" pitchFamily="34" charset="-52"/>
                          <a:ea typeface="PT Root UI Medium" panose="020B0503020202020204" pitchFamily="34" charset="-52"/>
                        </a:rPr>
                        <a:t>3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T Root UI Medium" panose="020B0503020202020204" pitchFamily="34" charset="-52"/>
                        <a:ea typeface="PT Root UI Medium" panose="020B0503020202020204" pitchFamily="34" charset="-5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u="none" strike="noStrike" dirty="0">
                          <a:effectLst/>
                          <a:latin typeface="PT Root UI Medium" panose="020B0503020202020204" pitchFamily="34" charset="-52"/>
                          <a:ea typeface="PT Root UI Medium" panose="020B0503020202020204" pitchFamily="34" charset="-52"/>
                        </a:rPr>
                        <a:t>Тюменская область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T Root UI Medium" panose="020B0503020202020204" pitchFamily="34" charset="-52"/>
                        <a:ea typeface="PT Root UI Medium" panose="020B0503020202020204" pitchFamily="34" charset="-5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PT Root UI Medium" panose="020B0503020202020204" pitchFamily="34" charset="-52"/>
                          <a:ea typeface="PT Root UI Medium" panose="020B0503020202020204" pitchFamily="34" charset="-52"/>
                        </a:rPr>
                        <a:t>2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T Root UI Medium" panose="020B0503020202020204" pitchFamily="34" charset="-52"/>
                        <a:ea typeface="PT Root UI Medium" panose="020B0503020202020204" pitchFamily="34" charset="-5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u="none" strike="noStrike" dirty="0">
                          <a:effectLst/>
                          <a:latin typeface="PT Root UI Medium" panose="020B0503020202020204" pitchFamily="34" charset="-52"/>
                          <a:ea typeface="PT Root UI Medium" panose="020B0503020202020204" pitchFamily="34" charset="-52"/>
                        </a:rPr>
                        <a:t>Республика Хакасия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T Root UI Medium" panose="020B0503020202020204" pitchFamily="34" charset="-52"/>
                        <a:ea typeface="PT Root UI Medium" panose="020B0503020202020204" pitchFamily="34" charset="-5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u="none" strike="noStrike" dirty="0">
                          <a:effectLst/>
                          <a:latin typeface="PT Root UI Medium" panose="020B0503020202020204" pitchFamily="34" charset="-52"/>
                          <a:ea typeface="PT Root UI Medium" panose="020B0503020202020204" pitchFamily="34" charset="-52"/>
                        </a:rPr>
                        <a:t>1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T Root UI Medium" panose="020B0503020202020204" pitchFamily="34" charset="-52"/>
                        <a:ea typeface="PT Root UI Medium" panose="020B0503020202020204" pitchFamily="34" charset="-5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451471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u="none" strike="noStrike" dirty="0">
                          <a:effectLst/>
                          <a:latin typeface="PT Root UI Medium" panose="020B0503020202020204" pitchFamily="34" charset="-52"/>
                          <a:ea typeface="PT Root UI Medium" panose="020B0503020202020204" pitchFamily="34" charset="-52"/>
                        </a:rPr>
                        <a:t>Нижегородская область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T Root UI Medium" panose="020B0503020202020204" pitchFamily="34" charset="-52"/>
                        <a:ea typeface="PT Root UI Medium" panose="020B0503020202020204" pitchFamily="34" charset="-5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PT Root UI Medium" panose="020B0503020202020204" pitchFamily="34" charset="-52"/>
                          <a:ea typeface="PT Root UI Medium" panose="020B0503020202020204" pitchFamily="34" charset="-52"/>
                        </a:rPr>
                        <a:t>6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T Root UI Medium" panose="020B0503020202020204" pitchFamily="34" charset="-52"/>
                        <a:ea typeface="PT Root UI Medium" panose="020B0503020202020204" pitchFamily="34" charset="-5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u="none" strike="noStrike" dirty="0">
                          <a:effectLst/>
                          <a:latin typeface="PT Root UI Medium" panose="020B0503020202020204" pitchFamily="34" charset="-52"/>
                          <a:ea typeface="PT Root UI Medium" panose="020B0503020202020204" pitchFamily="34" charset="-52"/>
                        </a:rPr>
                        <a:t>Омская область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T Root UI Medium" panose="020B0503020202020204" pitchFamily="34" charset="-52"/>
                        <a:ea typeface="PT Root UI Medium" panose="020B0503020202020204" pitchFamily="34" charset="-5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PT Root UI Medium" panose="020B0503020202020204" pitchFamily="34" charset="-52"/>
                          <a:ea typeface="PT Root UI Medium" panose="020B0503020202020204" pitchFamily="34" charset="-52"/>
                        </a:rPr>
                        <a:t>3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T Root UI Medium" panose="020B0503020202020204" pitchFamily="34" charset="-52"/>
                        <a:ea typeface="PT Root UI Medium" panose="020B0503020202020204" pitchFamily="34" charset="-5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PT Root UI Medium" panose="020B0503020202020204" pitchFamily="34" charset="-52"/>
                          <a:ea typeface="PT Root UI Medium" panose="020B0503020202020204" pitchFamily="34" charset="-52"/>
                        </a:rPr>
                        <a:t>Алтайский край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u="none" strike="noStrike" dirty="0">
                          <a:effectLst/>
                          <a:latin typeface="PT Root UI Medium" panose="020B0503020202020204" pitchFamily="34" charset="-52"/>
                          <a:ea typeface="PT Root UI Medium" panose="020B0503020202020204" pitchFamily="34" charset="-52"/>
                        </a:rPr>
                        <a:t>1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T Root UI Medium" panose="020B0503020202020204" pitchFamily="34" charset="-52"/>
                        <a:ea typeface="PT Root UI Medium" panose="020B0503020202020204" pitchFamily="34" charset="-5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u="none" strike="noStrike" dirty="0">
                          <a:effectLst/>
                          <a:latin typeface="PT Root UI Medium" panose="020B0503020202020204" pitchFamily="34" charset="-52"/>
                          <a:ea typeface="PT Root UI Medium" panose="020B0503020202020204" pitchFamily="34" charset="-52"/>
                        </a:rPr>
                        <a:t>Рязанская область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T Root UI Medium" panose="020B0503020202020204" pitchFamily="34" charset="-52"/>
                        <a:ea typeface="PT Root UI Medium" panose="020B0503020202020204" pitchFamily="34" charset="-5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u="none" strike="noStrike" dirty="0">
                          <a:effectLst/>
                          <a:latin typeface="PT Root UI Medium" panose="020B0503020202020204" pitchFamily="34" charset="-52"/>
                          <a:ea typeface="PT Root UI Medium" panose="020B0503020202020204" pitchFamily="34" charset="-52"/>
                        </a:rPr>
                        <a:t>1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T Root UI Medium" panose="020B0503020202020204" pitchFamily="34" charset="-52"/>
                        <a:ea typeface="PT Root UI Medium" panose="020B0503020202020204" pitchFamily="34" charset="-5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1571631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PT Root UI Medium" panose="020B0503020202020204" pitchFamily="34" charset="-52"/>
                          <a:ea typeface="PT Root UI Medium" panose="020B0503020202020204" pitchFamily="34" charset="-52"/>
                        </a:rPr>
                        <a:t>г. Санкт-Петербург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T Root UI Medium" panose="020B0503020202020204" pitchFamily="34" charset="-52"/>
                        <a:ea typeface="PT Root UI Medium" panose="020B0503020202020204" pitchFamily="34" charset="-5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PT Root UI Medium" panose="020B0503020202020204" pitchFamily="34" charset="-52"/>
                          <a:ea typeface="PT Root UI Medium" panose="020B0503020202020204" pitchFamily="34" charset="-52"/>
                        </a:rPr>
                        <a:t>6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T Root UI Medium" panose="020B0503020202020204" pitchFamily="34" charset="-52"/>
                        <a:ea typeface="PT Root UI Medium" panose="020B0503020202020204" pitchFamily="34" charset="-5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u="none" strike="noStrike" dirty="0">
                          <a:effectLst/>
                          <a:latin typeface="PT Root UI Medium" panose="020B0503020202020204" pitchFamily="34" charset="-52"/>
                          <a:ea typeface="PT Root UI Medium" panose="020B0503020202020204" pitchFamily="34" charset="-52"/>
                        </a:rPr>
                        <a:t>Тульская область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T Root UI Medium" panose="020B0503020202020204" pitchFamily="34" charset="-52"/>
                        <a:ea typeface="PT Root UI Medium" panose="020B0503020202020204" pitchFamily="34" charset="-5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PT Root UI Medium" panose="020B0503020202020204" pitchFamily="34" charset="-52"/>
                          <a:ea typeface="PT Root UI Medium" panose="020B0503020202020204" pitchFamily="34" charset="-52"/>
                        </a:rPr>
                        <a:t>3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T Root UI Medium" panose="020B0503020202020204" pitchFamily="34" charset="-52"/>
                        <a:ea typeface="PT Root UI Medium" panose="020B0503020202020204" pitchFamily="34" charset="-5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PT Root UI Medium" panose="020B0503020202020204" pitchFamily="34" charset="-52"/>
                          <a:ea typeface="PT Root UI Medium" panose="020B0503020202020204" pitchFamily="34" charset="-52"/>
                        </a:rPr>
                        <a:t>Белгородская область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u="none" strike="noStrike" dirty="0">
                          <a:effectLst/>
                          <a:latin typeface="PT Root UI Medium" panose="020B0503020202020204" pitchFamily="34" charset="-52"/>
                          <a:ea typeface="PT Root UI Medium" panose="020B0503020202020204" pitchFamily="34" charset="-52"/>
                        </a:rPr>
                        <a:t>1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T Root UI Medium" panose="020B0503020202020204" pitchFamily="34" charset="-52"/>
                        <a:ea typeface="PT Root UI Medium" panose="020B0503020202020204" pitchFamily="34" charset="-5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u="none" strike="noStrike" dirty="0">
                          <a:effectLst/>
                          <a:latin typeface="PT Root UI Medium" panose="020B0503020202020204" pitchFamily="34" charset="-52"/>
                          <a:ea typeface="PT Root UI Medium" panose="020B0503020202020204" pitchFamily="34" charset="-52"/>
                        </a:rPr>
                        <a:t>Свердловская область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T Root UI Medium" panose="020B0503020202020204" pitchFamily="34" charset="-52"/>
                        <a:ea typeface="PT Root UI Medium" panose="020B0503020202020204" pitchFamily="34" charset="-5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u="none" strike="noStrike" dirty="0">
                          <a:effectLst/>
                          <a:latin typeface="PT Root UI Medium" panose="020B0503020202020204" pitchFamily="34" charset="-52"/>
                          <a:ea typeface="PT Root UI Medium" panose="020B0503020202020204" pitchFamily="34" charset="-52"/>
                        </a:rPr>
                        <a:t>1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T Root UI Medium" panose="020B0503020202020204" pitchFamily="34" charset="-52"/>
                        <a:ea typeface="PT Root UI Medium" panose="020B0503020202020204" pitchFamily="34" charset="-5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1123811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PT Root UI Medium" panose="020B0503020202020204" pitchFamily="34" charset="-52"/>
                          <a:ea typeface="PT Root UI Medium" panose="020B0503020202020204" pitchFamily="34" charset="-52"/>
                        </a:rPr>
                        <a:t>Ивановская область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PT Root UI Medium" panose="020B0503020202020204" pitchFamily="34" charset="-52"/>
                          <a:ea typeface="PT Root UI Medium" panose="020B0503020202020204" pitchFamily="34" charset="-52"/>
                        </a:rPr>
                        <a:t>5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T Root UI Medium" panose="020B0503020202020204" pitchFamily="34" charset="-52"/>
                        <a:ea typeface="PT Root UI Medium" panose="020B0503020202020204" pitchFamily="34" charset="-5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PT Root UI Medium" panose="020B0503020202020204" pitchFamily="34" charset="-52"/>
                          <a:ea typeface="PT Root UI Medium" panose="020B0503020202020204" pitchFamily="34" charset="-52"/>
                        </a:rPr>
                        <a:t>Брянская область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PT Root UI Medium" panose="020B0503020202020204" pitchFamily="34" charset="-52"/>
                          <a:ea typeface="PT Root UI Medium" panose="020B0503020202020204" pitchFamily="34" charset="-52"/>
                        </a:rPr>
                        <a:t>2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T Root UI Medium" panose="020B0503020202020204" pitchFamily="34" charset="-52"/>
                        <a:ea typeface="PT Root UI Medium" panose="020B0503020202020204" pitchFamily="34" charset="-5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PT Root UI Medium" panose="020B0503020202020204" pitchFamily="34" charset="-52"/>
                          <a:ea typeface="PT Root UI Medium" panose="020B0503020202020204" pitchFamily="34" charset="-52"/>
                        </a:rPr>
                        <a:t>Вологодская область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u="none" strike="noStrike" dirty="0">
                          <a:effectLst/>
                          <a:latin typeface="PT Root UI Medium" panose="020B0503020202020204" pitchFamily="34" charset="-52"/>
                          <a:ea typeface="PT Root UI Medium" panose="020B0503020202020204" pitchFamily="34" charset="-52"/>
                        </a:rPr>
                        <a:t>1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T Root UI Medium" panose="020B0503020202020204" pitchFamily="34" charset="-52"/>
                        <a:ea typeface="PT Root UI Medium" panose="020B0503020202020204" pitchFamily="34" charset="-5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u="none" strike="noStrike" dirty="0" smtClean="0">
                          <a:effectLst/>
                          <a:latin typeface="PT Root UI Medium" panose="020B0503020202020204" pitchFamily="34" charset="-52"/>
                          <a:ea typeface="PT Root UI Medium" panose="020B0503020202020204" pitchFamily="34" charset="-52"/>
                        </a:rPr>
                        <a:t>Смоленская область</a:t>
                      </a:r>
                      <a:endParaRPr lang="ru-RU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PT Root UI Medium" panose="020B0503020202020204" pitchFamily="34" charset="-52"/>
                        <a:ea typeface="PT Root UI Medium" panose="020B0503020202020204" pitchFamily="34" charset="-5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u="none" strike="noStrike" dirty="0">
                          <a:effectLst/>
                          <a:latin typeface="PT Root UI Medium" panose="020B0503020202020204" pitchFamily="34" charset="-52"/>
                          <a:ea typeface="PT Root UI Medium" panose="020B0503020202020204" pitchFamily="34" charset="-52"/>
                        </a:rPr>
                        <a:t>1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T Root UI Medium" panose="020B0503020202020204" pitchFamily="34" charset="-52"/>
                        <a:ea typeface="PT Root UI Medium" panose="020B0503020202020204" pitchFamily="34" charset="-5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3333758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u="none" strike="noStrike" dirty="0" smtClean="0">
                          <a:effectLst/>
                          <a:latin typeface="PT Root UI Medium" panose="020B0503020202020204" pitchFamily="34" charset="-52"/>
                          <a:ea typeface="PT Root UI Medium" panose="020B0503020202020204" pitchFamily="34" charset="-52"/>
                        </a:rPr>
                        <a:t>Челябинская </a:t>
                      </a:r>
                      <a:r>
                        <a:rPr lang="ru-RU" sz="1200" b="0" u="none" strike="noStrike" dirty="0">
                          <a:effectLst/>
                          <a:latin typeface="PT Root UI Medium" panose="020B0503020202020204" pitchFamily="34" charset="-52"/>
                          <a:ea typeface="PT Root UI Medium" panose="020B0503020202020204" pitchFamily="34" charset="-52"/>
                        </a:rPr>
                        <a:t>область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T Root UI Medium" panose="020B0503020202020204" pitchFamily="34" charset="-52"/>
                        <a:ea typeface="PT Root UI Medium" panose="020B0503020202020204" pitchFamily="34" charset="-5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PT Root UI Medium" panose="020B0503020202020204" pitchFamily="34" charset="-52"/>
                          <a:ea typeface="PT Root UI Medium" panose="020B0503020202020204" pitchFamily="34" charset="-52"/>
                        </a:rPr>
                        <a:t>5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T Root UI Medium" panose="020B0503020202020204" pitchFamily="34" charset="-52"/>
                        <a:ea typeface="PT Root UI Medium" panose="020B0503020202020204" pitchFamily="34" charset="-5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PT Root UI Medium" panose="020B0503020202020204" pitchFamily="34" charset="-52"/>
                          <a:ea typeface="PT Root UI Medium" panose="020B0503020202020204" pitchFamily="34" charset="-52"/>
                        </a:rPr>
                        <a:t>Калужская область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PT Root UI Medium" panose="020B0503020202020204" pitchFamily="34" charset="-52"/>
                          <a:ea typeface="PT Root UI Medium" panose="020B0503020202020204" pitchFamily="34" charset="-52"/>
                        </a:rPr>
                        <a:t>2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T Root UI Medium" panose="020B0503020202020204" pitchFamily="34" charset="-52"/>
                        <a:ea typeface="PT Root UI Medium" panose="020B0503020202020204" pitchFamily="34" charset="-5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PT Root UI Medium" panose="020B0503020202020204" pitchFamily="34" charset="-52"/>
                          <a:ea typeface="PT Root UI Medium" panose="020B0503020202020204" pitchFamily="34" charset="-52"/>
                        </a:rPr>
                        <a:t>Костромская область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u="none" strike="noStrike" dirty="0">
                          <a:effectLst/>
                          <a:latin typeface="PT Root UI Medium" panose="020B0503020202020204" pitchFamily="34" charset="-52"/>
                          <a:ea typeface="PT Root UI Medium" panose="020B0503020202020204" pitchFamily="34" charset="-52"/>
                        </a:rPr>
                        <a:t>1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T Root UI Medium" panose="020B0503020202020204" pitchFamily="34" charset="-52"/>
                        <a:ea typeface="PT Root UI Medium" panose="020B0503020202020204" pitchFamily="34" charset="-5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u="none" strike="noStrike" dirty="0" smtClean="0">
                          <a:effectLst/>
                          <a:latin typeface="PT Root UI Medium" panose="020B0503020202020204" pitchFamily="34" charset="-52"/>
                          <a:ea typeface="PT Root UI Medium" panose="020B0503020202020204" pitchFamily="34" charset="-52"/>
                        </a:rPr>
                        <a:t>Томская область</a:t>
                      </a:r>
                      <a:endParaRPr lang="ru-RU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PT Root UI Medium" panose="020B0503020202020204" pitchFamily="34" charset="-52"/>
                        <a:ea typeface="PT Root UI Medium" panose="020B0503020202020204" pitchFamily="34" charset="-5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u="none" strike="noStrike" dirty="0">
                          <a:effectLst/>
                          <a:latin typeface="PT Root UI Medium" panose="020B0503020202020204" pitchFamily="34" charset="-52"/>
                          <a:ea typeface="PT Root UI Medium" panose="020B0503020202020204" pitchFamily="34" charset="-52"/>
                        </a:rPr>
                        <a:t>1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T Root UI Medium" panose="020B0503020202020204" pitchFamily="34" charset="-52"/>
                        <a:ea typeface="PT Root UI Medium" panose="020B0503020202020204" pitchFamily="34" charset="-5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6552489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u="none" strike="noStrike" dirty="0">
                          <a:effectLst/>
                          <a:latin typeface="PT Root UI Medium" panose="020B0503020202020204" pitchFamily="34" charset="-52"/>
                          <a:ea typeface="PT Root UI Medium" panose="020B0503020202020204" pitchFamily="34" charset="-52"/>
                        </a:rPr>
                        <a:t>Кировская область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T Root UI Medium" panose="020B0503020202020204" pitchFamily="34" charset="-52"/>
                        <a:ea typeface="PT Root UI Medium" panose="020B0503020202020204" pitchFamily="34" charset="-5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u="none" strike="noStrike" dirty="0">
                          <a:effectLst/>
                          <a:latin typeface="PT Root UI Medium" panose="020B0503020202020204" pitchFamily="34" charset="-52"/>
                          <a:ea typeface="PT Root UI Medium" panose="020B0503020202020204" pitchFamily="34" charset="-52"/>
                        </a:rPr>
                        <a:t>4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T Root UI Medium" panose="020B0503020202020204" pitchFamily="34" charset="-52"/>
                        <a:ea typeface="PT Root UI Medium" panose="020B0503020202020204" pitchFamily="34" charset="-5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PT Root UI Medium" panose="020B0503020202020204" pitchFamily="34" charset="-52"/>
                          <a:ea typeface="PT Root UI Medium" panose="020B0503020202020204" pitchFamily="34" charset="-52"/>
                        </a:rPr>
                        <a:t>Новосибирская область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u="none" strike="noStrike" dirty="0" smtClean="0">
                          <a:effectLst/>
                          <a:latin typeface="PT Root UI Medium" panose="020B0503020202020204" pitchFamily="34" charset="-52"/>
                          <a:ea typeface="PT Root UI Medium" panose="020B0503020202020204" pitchFamily="34" charset="-52"/>
                        </a:rPr>
                        <a:t>2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T Root UI Medium" panose="020B0503020202020204" pitchFamily="34" charset="-52"/>
                        <a:ea typeface="PT Root UI Medium" panose="020B0503020202020204" pitchFamily="34" charset="-5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u="none" strike="noStrike" dirty="0">
                          <a:effectLst/>
                          <a:latin typeface="PT Root UI Medium" panose="020B0503020202020204" pitchFamily="34" charset="-52"/>
                          <a:ea typeface="PT Root UI Medium" panose="020B0503020202020204" pitchFamily="34" charset="-52"/>
                        </a:rPr>
                        <a:t>Ленинградская область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T Root UI Medium" panose="020B0503020202020204" pitchFamily="34" charset="-52"/>
                        <a:ea typeface="PT Root UI Medium" panose="020B0503020202020204" pitchFamily="34" charset="-5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u="none" strike="noStrike" dirty="0">
                          <a:effectLst/>
                          <a:latin typeface="PT Root UI Medium" panose="020B0503020202020204" pitchFamily="34" charset="-52"/>
                          <a:ea typeface="PT Root UI Medium" panose="020B0503020202020204" pitchFamily="34" charset="-52"/>
                        </a:rPr>
                        <a:t>1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T Root UI Medium" panose="020B0503020202020204" pitchFamily="34" charset="-52"/>
                        <a:ea typeface="PT Root UI Medium" panose="020B0503020202020204" pitchFamily="34" charset="-5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u="none" strike="noStrike" dirty="0">
                          <a:effectLst/>
                          <a:latin typeface="PT Root UI Medium" panose="020B0503020202020204" pitchFamily="34" charset="-52"/>
                          <a:ea typeface="PT Root UI Medium" panose="020B0503020202020204" pitchFamily="34" charset="-52"/>
                        </a:rPr>
                        <a:t>Ульяновская область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T Root UI Medium" panose="020B0503020202020204" pitchFamily="34" charset="-52"/>
                        <a:ea typeface="PT Root UI Medium" panose="020B0503020202020204" pitchFamily="34" charset="-5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u="none" strike="noStrike" dirty="0">
                          <a:effectLst/>
                          <a:latin typeface="PT Root UI Medium" panose="020B0503020202020204" pitchFamily="34" charset="-52"/>
                          <a:ea typeface="PT Root UI Medium" panose="020B0503020202020204" pitchFamily="34" charset="-52"/>
                        </a:rPr>
                        <a:t>1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T Root UI Medium" panose="020B0503020202020204" pitchFamily="34" charset="-52"/>
                        <a:ea typeface="PT Root UI Medium" panose="020B0503020202020204" pitchFamily="34" charset="-5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2496618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PT Root UI Medium" panose="020B0503020202020204" pitchFamily="34" charset="-52"/>
                          <a:ea typeface="PT Root UI Medium" panose="020B0503020202020204" pitchFamily="34" charset="-52"/>
                        </a:rPr>
                        <a:t>Саратовская область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PT Root UI Medium" panose="020B0503020202020204" pitchFamily="34" charset="-52"/>
                          <a:ea typeface="PT Root UI Medium" panose="020B0503020202020204" pitchFamily="34" charset="-52"/>
                        </a:rPr>
                        <a:t>4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T Root UI Medium" panose="020B0503020202020204" pitchFamily="34" charset="-52"/>
                        <a:ea typeface="PT Root UI Medium" panose="020B0503020202020204" pitchFamily="34" charset="-5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PT Root UI Medium" panose="020B0503020202020204" pitchFamily="34" charset="-52"/>
                          <a:ea typeface="PT Root UI Medium" panose="020B0503020202020204" pitchFamily="34" charset="-52"/>
                        </a:rPr>
                        <a:t>Пермский край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u="none" strike="noStrike" dirty="0" smtClean="0">
                          <a:effectLst/>
                          <a:latin typeface="PT Root UI Medium" panose="020B0503020202020204" pitchFamily="34" charset="-52"/>
                          <a:ea typeface="PT Root UI Medium" panose="020B0503020202020204" pitchFamily="34" charset="-52"/>
                        </a:rPr>
                        <a:t>2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T Root UI Medium" panose="020B0503020202020204" pitchFamily="34" charset="-52"/>
                        <a:ea typeface="PT Root UI Medium" panose="020B0503020202020204" pitchFamily="34" charset="-5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u="none" strike="noStrike" dirty="0">
                          <a:effectLst/>
                          <a:latin typeface="PT Root UI Medium" panose="020B0503020202020204" pitchFamily="34" charset="-52"/>
                          <a:ea typeface="PT Root UI Medium" panose="020B0503020202020204" pitchFamily="34" charset="-52"/>
                        </a:rPr>
                        <a:t>Оренбургская область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T Root UI Medium" panose="020B0503020202020204" pitchFamily="34" charset="-52"/>
                        <a:ea typeface="PT Root UI Medium" panose="020B0503020202020204" pitchFamily="34" charset="-5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u="none" strike="noStrike" dirty="0">
                          <a:effectLst/>
                          <a:latin typeface="PT Root UI Medium" panose="020B0503020202020204" pitchFamily="34" charset="-52"/>
                          <a:ea typeface="PT Root UI Medium" panose="020B0503020202020204" pitchFamily="34" charset="-52"/>
                        </a:rPr>
                        <a:t>1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T Root UI Medium" panose="020B0503020202020204" pitchFamily="34" charset="-52"/>
                        <a:ea typeface="PT Root UI Medium" panose="020B0503020202020204" pitchFamily="34" charset="-5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1200">
                        <a:latin typeface="PT Root UI Medium" panose="020B0503020202020204" pitchFamily="34" charset="-52"/>
                        <a:ea typeface="PT Root UI Medium" panose="020B0503020202020204" pitchFamily="34" charset="-5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1200">
                        <a:latin typeface="PT Root UI Medium" panose="020B0503020202020204" pitchFamily="34" charset="-52"/>
                        <a:ea typeface="PT Root UI Medium" panose="020B0503020202020204" pitchFamily="34" charset="-5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3781002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PT Root UI Medium" panose="020B0503020202020204" pitchFamily="34" charset="-52"/>
                          <a:ea typeface="PT Root UI Medium" panose="020B0503020202020204" pitchFamily="34" charset="-52"/>
                        </a:rPr>
                        <a:t>Архангельская область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u="none" strike="noStrike" dirty="0">
                          <a:effectLst/>
                          <a:latin typeface="PT Root UI Medium" panose="020B0503020202020204" pitchFamily="34" charset="-52"/>
                          <a:ea typeface="PT Root UI Medium" panose="020B0503020202020204" pitchFamily="34" charset="-52"/>
                        </a:rPr>
                        <a:t>3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T Root UI Medium" panose="020B0503020202020204" pitchFamily="34" charset="-52"/>
                        <a:ea typeface="PT Root UI Medium" panose="020B0503020202020204" pitchFamily="34" charset="-5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u="none" strike="noStrike" dirty="0">
                          <a:effectLst/>
                          <a:latin typeface="PT Root UI Medium" panose="020B0503020202020204" pitchFamily="34" charset="-52"/>
                          <a:ea typeface="PT Root UI Medium" panose="020B0503020202020204" pitchFamily="34" charset="-52"/>
                        </a:rPr>
                        <a:t>Республика Башкортостан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T Root UI Medium" panose="020B0503020202020204" pitchFamily="34" charset="-52"/>
                        <a:ea typeface="PT Root UI Medium" panose="020B0503020202020204" pitchFamily="34" charset="-5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PT Root UI Medium" panose="020B0503020202020204" pitchFamily="34" charset="-52"/>
                          <a:ea typeface="PT Root UI Medium" panose="020B0503020202020204" pitchFamily="34" charset="-52"/>
                        </a:rPr>
                        <a:t>2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T Root UI Medium" panose="020B0503020202020204" pitchFamily="34" charset="-52"/>
                        <a:ea typeface="PT Root UI Medium" panose="020B0503020202020204" pitchFamily="34" charset="-5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u="none" strike="noStrike" dirty="0">
                          <a:effectLst/>
                          <a:latin typeface="PT Root UI Medium" panose="020B0503020202020204" pitchFamily="34" charset="-52"/>
                          <a:ea typeface="PT Root UI Medium" panose="020B0503020202020204" pitchFamily="34" charset="-52"/>
                        </a:rPr>
                        <a:t>Республика Адыгея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T Root UI Medium" panose="020B0503020202020204" pitchFamily="34" charset="-52"/>
                        <a:ea typeface="PT Root UI Medium" panose="020B0503020202020204" pitchFamily="34" charset="-5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u="none" strike="noStrike" dirty="0">
                          <a:effectLst/>
                          <a:latin typeface="PT Root UI Medium" panose="020B0503020202020204" pitchFamily="34" charset="-52"/>
                          <a:ea typeface="PT Root UI Medium" panose="020B0503020202020204" pitchFamily="34" charset="-52"/>
                        </a:rPr>
                        <a:t>1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T Root UI Medium" panose="020B0503020202020204" pitchFamily="34" charset="-52"/>
                        <a:ea typeface="PT Root UI Medium" panose="020B0503020202020204" pitchFamily="34" charset="-5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1200">
                        <a:latin typeface="PT Root UI Medium" panose="020B0503020202020204" pitchFamily="34" charset="-52"/>
                        <a:ea typeface="PT Root UI Medium" panose="020B0503020202020204" pitchFamily="34" charset="-5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1200" dirty="0">
                        <a:latin typeface="PT Root UI Medium" panose="020B0503020202020204" pitchFamily="34" charset="-52"/>
                        <a:ea typeface="PT Root UI Medium" panose="020B0503020202020204" pitchFamily="34" charset="-5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85104712"/>
                  </a:ext>
                </a:extLst>
              </a:tr>
            </a:tbl>
          </a:graphicData>
        </a:graphic>
      </p:graphicFrame>
      <p:sp>
        <p:nvSpPr>
          <p:cNvPr id="37" name="Прямоугольник 36"/>
          <p:cNvSpPr/>
          <p:nvPr/>
        </p:nvSpPr>
        <p:spPr>
          <a:xfrm>
            <a:off x="382477" y="3802627"/>
            <a:ext cx="1168631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solidFill>
                  <a:srgbClr val="181818"/>
                </a:solidFill>
                <a:latin typeface="PT Root UI Bold" panose="020B0603020202020204" pitchFamily="34" charset="-52"/>
                <a:ea typeface="PT Root UI Bold" panose="020B0603020202020204" pitchFamily="34" charset="-52"/>
              </a:rPr>
              <a:t>Субъекты МСП из 38 регионов уже заключили сделки с частными российскими и иностранными компаниями с использованием сервиса </a:t>
            </a:r>
            <a:r>
              <a:rPr lang="ru-RU" dirty="0" smtClean="0">
                <a:solidFill>
                  <a:srgbClr val="181818"/>
                </a:solidFill>
                <a:latin typeface="PT Root UI" panose="020B0303020202020204" pitchFamily="34" charset="-52"/>
                <a:ea typeface="PT Root UI" panose="020B0303020202020204" pitchFamily="34" charset="-52"/>
              </a:rPr>
              <a:t>(количество сделок начиная с 2023 года)</a:t>
            </a:r>
            <a:endParaRPr lang="ru-RU" dirty="0">
              <a:latin typeface="PT Root UI" panose="020B0303020202020204" pitchFamily="34" charset="-52"/>
              <a:ea typeface="PT Root UI" panose="020B0303020202020204" pitchFamily="34" charset="-52"/>
            </a:endParaRPr>
          </a:p>
        </p:txBody>
      </p:sp>
      <p:sp>
        <p:nvSpPr>
          <p:cNvPr id="38" name="Номер слайда 1">
            <a:extLst>
              <a:ext uri="{FF2B5EF4-FFF2-40B4-BE49-F238E27FC236}">
                <a16:creationId xmlns:a16="http://schemas.microsoft.com/office/drawing/2014/main" id="{ACB90E8B-B8F0-2A74-9BCE-5040131924F9}"/>
              </a:ext>
            </a:extLst>
          </p:cNvPr>
          <p:cNvSpPr txBox="1">
            <a:spLocks/>
          </p:cNvSpPr>
          <p:nvPr/>
        </p:nvSpPr>
        <p:spPr>
          <a:xfrm>
            <a:off x="11542303" y="6613537"/>
            <a:ext cx="509848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F49150-8608-4927-A2AD-0FD9DDF7E69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10288455" y="2283741"/>
            <a:ext cx="154634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ru-RU" sz="1400" dirty="0" smtClean="0">
                <a:solidFill>
                  <a:srgbClr val="9165E8"/>
                </a:solidFill>
                <a:latin typeface="PT Root UI Bold" panose="020B0603020202020204" pitchFamily="34" charset="-52"/>
                <a:ea typeface="PT Root UI Bold" panose="020B0603020202020204" pitchFamily="34" charset="-52"/>
              </a:rPr>
              <a:t>с начала 2024 г.</a:t>
            </a:r>
            <a:endParaRPr lang="ru-RU" sz="1400" dirty="0">
              <a:solidFill>
                <a:srgbClr val="9165E8"/>
              </a:solidFill>
              <a:latin typeface="PT Root UI Bold" panose="020B0603020202020204" pitchFamily="34" charset="-52"/>
              <a:ea typeface="PT Root UI Bold" panose="020B0603020202020204" pitchFamily="34" charset="-52"/>
            </a:endParaRPr>
          </a:p>
        </p:txBody>
      </p:sp>
      <p:pic>
        <p:nvPicPr>
          <p:cNvPr id="29" name="Рисунок 2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3621" y="548239"/>
            <a:ext cx="1465327" cy="155484"/>
          </a:xfrm>
          <a:prstGeom prst="rect">
            <a:avLst/>
          </a:prstGeom>
        </p:spPr>
      </p:pic>
      <p:pic>
        <p:nvPicPr>
          <p:cNvPr id="30" name="Рисунок 61">
            <a:extLst>
              <a:ext uri="{FF2B5EF4-FFF2-40B4-BE49-F238E27FC236}">
                <a16:creationId xmlns:a16="http://schemas.microsoft.com/office/drawing/2014/main" id="{ED2A8417-2BC5-887B-EC92-40F89A41BEFB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01479" y="476250"/>
            <a:ext cx="572813" cy="299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27866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4524</TotalTime>
  <Words>1301</Words>
  <Application>Microsoft Office PowerPoint</Application>
  <PresentationFormat>Широкоэкранный</PresentationFormat>
  <Paragraphs>331</Paragraphs>
  <Slides>14</Slides>
  <Notes>9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2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4</vt:i4>
      </vt:variant>
    </vt:vector>
  </HeadingPairs>
  <TitlesOfParts>
    <vt:vector size="28" baseType="lpstr">
      <vt:lpstr>Arial</vt:lpstr>
      <vt:lpstr>Calibri</vt:lpstr>
      <vt:lpstr>Courier New</vt:lpstr>
      <vt:lpstr>Montserrat Medium</vt:lpstr>
      <vt:lpstr>PT Root UI</vt:lpstr>
      <vt:lpstr>PT Root UI Bold</vt:lpstr>
      <vt:lpstr>PT Root UI Light</vt:lpstr>
      <vt:lpstr>PT Root UI Medium</vt:lpstr>
      <vt:lpstr>Segoe UI</vt:lpstr>
      <vt:lpstr>Segoe UI Black</vt:lpstr>
      <vt:lpstr>Segoe UI Semibold</vt:lpstr>
      <vt:lpstr>Wingdings</vt:lpstr>
      <vt:lpstr>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Астапенков Максим Александрович</dc:creator>
  <cp:lastModifiedBy>Сакмарова Марина Сергеевна</cp:lastModifiedBy>
  <cp:revision>1609</cp:revision>
  <cp:lastPrinted>2023-06-23T10:15:43Z</cp:lastPrinted>
  <dcterms:created xsi:type="dcterms:W3CDTF">2022-02-09T17:47:39Z</dcterms:created>
  <dcterms:modified xsi:type="dcterms:W3CDTF">2024-06-19T16:14:29Z</dcterms:modified>
</cp:coreProperties>
</file>